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charts/chart1.xml" ContentType="application/vnd.openxmlformats-officedocument.drawingml.chart+xml"/>
  <Override PartName="/ppt/tags/tag9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822" r:id="rId1"/>
  </p:sldMasterIdLst>
  <p:notesMasterIdLst>
    <p:notesMasterId r:id="rId9"/>
  </p:notesMasterIdLst>
  <p:handoutMasterIdLst>
    <p:handoutMasterId r:id="rId10"/>
  </p:handoutMasterIdLst>
  <p:sldIdLst>
    <p:sldId id="324" r:id="rId2"/>
    <p:sldId id="326" r:id="rId3"/>
    <p:sldId id="325" r:id="rId4"/>
    <p:sldId id="323" r:id="rId5"/>
    <p:sldId id="327" r:id="rId6"/>
    <p:sldId id="322" r:id="rId7"/>
    <p:sldId id="321" r:id="rId8"/>
  </p:sldIdLst>
  <p:sldSz cx="12198350" cy="6858000"/>
  <p:notesSz cx="6950075" cy="9236075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38" userDrawn="1">
          <p15:clr>
            <a:srgbClr val="A4A3A4"/>
          </p15:clr>
        </p15:guide>
        <p15:guide id="2" pos="69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18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6" name="Author" initials="A" lastIdx="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600"/>
    <a:srgbClr val="808080"/>
    <a:srgbClr val="B3B3B3"/>
    <a:srgbClr val="2E2E38"/>
    <a:srgbClr val="000000"/>
    <a:srgbClr val="C4C4CD"/>
    <a:srgbClr val="FF7300"/>
    <a:srgbClr val="FFFFFF"/>
    <a:srgbClr val="747480"/>
    <a:srgbClr val="FF9A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98" autoAdjust="0"/>
    <p:restoredTop sz="95013" autoAdjust="0"/>
  </p:normalViewPr>
  <p:slideViewPr>
    <p:cSldViewPr snapToGrid="0" snapToObjects="1" showGuides="1">
      <p:cViewPr varScale="1">
        <p:scale>
          <a:sx n="62" d="100"/>
          <a:sy n="62" d="100"/>
        </p:scale>
        <p:origin x="264" y="31"/>
      </p:cViewPr>
      <p:guideLst>
        <p:guide orient="horz" pos="1338"/>
        <p:guide pos="6924"/>
      </p:guideLst>
    </p:cSldViewPr>
  </p:slideViewPr>
  <p:outlineViewPr>
    <p:cViewPr>
      <p:scale>
        <a:sx n="33" d="100"/>
        <a:sy n="33" d="100"/>
      </p:scale>
      <p:origin x="0" y="-7090"/>
    </p:cViewPr>
  </p:outlineViewPr>
  <p:notesTextViewPr>
    <p:cViewPr>
      <p:scale>
        <a:sx n="50" d="100"/>
        <a:sy n="50" d="100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notesViewPr>
    <p:cSldViewPr snapToGrid="0" snapToObjects="1" showGuides="1">
      <p:cViewPr varScale="1">
        <p:scale>
          <a:sx n="80" d="100"/>
          <a:sy n="80" d="100"/>
        </p:scale>
        <p:origin x="-2004" y="-96"/>
      </p:cViewPr>
      <p:guideLst>
        <p:guide orient="horz" pos="2909"/>
        <p:guide pos="218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5155369273016328E-3"/>
          <c:y val="3.7249283667621778E-2"/>
          <c:w val="0.98496892614539677"/>
          <c:h val="0.9255014326647564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tx2"/>
            </a:solidFill>
            <a:ln>
              <a:noFill/>
            </a:ln>
          </c:spPr>
          <c:invertIfNegative val="0"/>
          <c:dPt>
            <c:idx val="17"/>
            <c:invertIfNegative val="0"/>
            <c:bubble3D val="0"/>
            <c:spPr>
              <a:solidFill>
                <a:srgbClr val="C4C4C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542D-4D1A-92FB-BBF464118738}"/>
              </c:ext>
            </c:extLst>
          </c:dPt>
          <c:dPt>
            <c:idx val="18"/>
            <c:invertIfNegative val="0"/>
            <c:bubble3D val="0"/>
            <c:spPr>
              <a:solidFill>
                <a:srgbClr val="C4C4C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42D-4D1A-92FB-BBF464118738}"/>
              </c:ext>
            </c:extLst>
          </c:dPt>
          <c:dPt>
            <c:idx val="19"/>
            <c:invertIfNegative val="0"/>
            <c:bubble3D val="0"/>
            <c:spPr>
              <a:solidFill>
                <a:srgbClr val="C4C4C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542D-4D1A-92FB-BBF464118738}"/>
              </c:ext>
            </c:extLst>
          </c:dPt>
          <c:dPt>
            <c:idx val="20"/>
            <c:invertIfNegative val="0"/>
            <c:bubble3D val="0"/>
            <c:spPr>
              <a:solidFill>
                <a:srgbClr val="C4C4C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42D-4D1A-92FB-BBF464118738}"/>
              </c:ext>
            </c:extLst>
          </c:dPt>
          <c:dPt>
            <c:idx val="21"/>
            <c:invertIfNegative val="0"/>
            <c:bubble3D val="0"/>
            <c:spPr>
              <a:solidFill>
                <a:srgbClr val="C4C4C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542D-4D1A-92FB-BBF464118738}"/>
              </c:ext>
            </c:extLst>
          </c:dPt>
          <c:dPt>
            <c:idx val="22"/>
            <c:invertIfNegative val="0"/>
            <c:bubble3D val="0"/>
            <c:spPr>
              <a:solidFill>
                <a:srgbClr val="C4C4C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542D-4D1A-92FB-BBF464118738}"/>
              </c:ext>
            </c:extLst>
          </c:dPt>
          <c:dPt>
            <c:idx val="23"/>
            <c:invertIfNegative val="0"/>
            <c:bubble3D val="0"/>
            <c:spPr>
              <a:solidFill>
                <a:srgbClr val="C4C4C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542D-4D1A-92FB-BBF464118738}"/>
              </c:ext>
            </c:extLst>
          </c:dPt>
          <c:dPt>
            <c:idx val="24"/>
            <c:invertIfNegative val="0"/>
            <c:bubble3D val="0"/>
            <c:spPr>
              <a:solidFill>
                <a:srgbClr val="C4C4C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542D-4D1A-92FB-BBF464118738}"/>
              </c:ext>
            </c:extLst>
          </c:dPt>
          <c:dPt>
            <c:idx val="25"/>
            <c:invertIfNegative val="0"/>
            <c:bubble3D val="0"/>
            <c:spPr>
              <a:solidFill>
                <a:srgbClr val="C4C4C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542D-4D1A-92FB-BBF464118738}"/>
              </c:ext>
            </c:extLst>
          </c:dPt>
          <c:dPt>
            <c:idx val="26"/>
            <c:invertIfNegative val="0"/>
            <c:bubble3D val="0"/>
            <c:spPr>
              <a:solidFill>
                <a:srgbClr val="C4C4C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542D-4D1A-92FB-BBF464118738}"/>
              </c:ext>
            </c:extLst>
          </c:dPt>
          <c:dPt>
            <c:idx val="27"/>
            <c:invertIfNegative val="0"/>
            <c:bubble3D val="0"/>
            <c:spPr>
              <a:solidFill>
                <a:srgbClr val="C4C4C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542D-4D1A-92FB-BBF464118738}"/>
              </c:ext>
            </c:extLst>
          </c:dPt>
          <c:dPt>
            <c:idx val="28"/>
            <c:invertIfNegative val="0"/>
            <c:bubble3D val="0"/>
            <c:spPr>
              <a:solidFill>
                <a:srgbClr val="C4C4C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B-542D-4D1A-92FB-BBF464118738}"/>
              </c:ext>
            </c:extLst>
          </c:dPt>
          <c:dPt>
            <c:idx val="29"/>
            <c:invertIfNegative val="0"/>
            <c:bubble3D val="0"/>
            <c:spPr>
              <a:solidFill>
                <a:srgbClr val="C4C4C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C-542D-4D1A-92FB-BBF464118738}"/>
              </c:ext>
            </c:extLst>
          </c:dPt>
          <c:dPt>
            <c:idx val="30"/>
            <c:invertIfNegative val="0"/>
            <c:bubble3D val="0"/>
            <c:spPr>
              <a:solidFill>
                <a:srgbClr val="C4C4C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D-542D-4D1A-92FB-BBF464118738}"/>
              </c:ext>
            </c:extLst>
          </c:dPt>
          <c:dPt>
            <c:idx val="31"/>
            <c:invertIfNegative val="0"/>
            <c:bubble3D val="0"/>
            <c:spPr>
              <a:solidFill>
                <a:srgbClr val="C4C4C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E-542D-4D1A-92FB-BBF464118738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542D-4D1A-92FB-BBF464118738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542D-4D1A-92FB-BBF464118738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542D-4D1A-92FB-BBF464118738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542D-4D1A-92FB-BBF464118738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542D-4D1A-92FB-BBF464118738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542D-4D1A-92FB-BBF464118738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542D-4D1A-92FB-BBF464118738}"/>
                </c:ext>
              </c:extLst>
            </c:dLbl>
            <c:dLbl>
              <c:idx val="7"/>
              <c:layout>
                <c:manualLayout>
                  <c:x val="0"/>
                  <c:y val="-7.163323782234956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542D-4D1A-92FB-BBF464118738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542D-4D1A-92FB-BBF464118738}"/>
                </c:ext>
              </c:extLst>
            </c:dLbl>
            <c:dLbl>
              <c:idx val="17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42D-4D1A-92FB-BBF464118738}"/>
                </c:ext>
              </c:extLst>
            </c:dLbl>
            <c:dLbl>
              <c:idx val="18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42D-4D1A-92FB-BBF464118738}"/>
                </c:ext>
              </c:extLst>
            </c:dLbl>
            <c:dLbl>
              <c:idx val="19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42D-4D1A-92FB-BBF464118738}"/>
                </c:ext>
              </c:extLst>
            </c:dLbl>
            <c:dLbl>
              <c:idx val="2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42D-4D1A-92FB-BBF464118738}"/>
                </c:ext>
              </c:extLst>
            </c:dLbl>
            <c:dLbl>
              <c:idx val="2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42D-4D1A-92FB-BBF464118738}"/>
                </c:ext>
              </c:extLst>
            </c:dLbl>
            <c:dLbl>
              <c:idx val="22"/>
              <c:layout>
                <c:manualLayout>
                  <c:x val="0"/>
                  <c:y val="-7.163323782234956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542D-4D1A-92FB-BBF464118738}"/>
                </c:ext>
              </c:extLst>
            </c:dLbl>
            <c:dLbl>
              <c:idx val="23"/>
              <c:layout>
                <c:manualLayout>
                  <c:x val="0"/>
                  <c:y val="-7.163323782234956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42D-4D1A-92FB-BBF464118738}"/>
                </c:ext>
              </c:extLst>
            </c:dLbl>
            <c:dLbl>
              <c:idx val="24"/>
              <c:layout>
                <c:manualLayout>
                  <c:x val="0"/>
                  <c:y val="-7.163323782234956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542D-4D1A-92FB-BBF464118738}"/>
                </c:ext>
              </c:extLst>
            </c:dLbl>
            <c:dLbl>
              <c:idx val="25"/>
              <c:layout>
                <c:manualLayout>
                  <c:x val="0"/>
                  <c:y val="-7.163323782234956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542D-4D1A-92FB-BBF464118738}"/>
                </c:ext>
              </c:extLst>
            </c:dLbl>
            <c:dLbl>
              <c:idx val="26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542D-4D1A-92FB-BBF464118738}"/>
                </c:ext>
              </c:extLst>
            </c:dLbl>
            <c:dLbl>
              <c:idx val="27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542D-4D1A-92FB-BBF464118738}"/>
                </c:ext>
              </c:extLst>
            </c:dLbl>
            <c:dLbl>
              <c:idx val="28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542D-4D1A-92FB-BBF464118738}"/>
                </c:ext>
              </c:extLst>
            </c:dLbl>
            <c:dLbl>
              <c:idx val="29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542D-4D1A-92FB-BBF464118738}"/>
                </c:ext>
              </c:extLst>
            </c:dLbl>
            <c:dLbl>
              <c:idx val="3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542D-4D1A-92FB-BBF464118738}"/>
                </c:ext>
              </c:extLst>
            </c:dLbl>
            <c:dLbl>
              <c:idx val="31"/>
              <c:layout>
                <c:manualLayout>
                  <c:x val="0"/>
                  <c:y val="-7.163323782234956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542D-4D1A-92FB-BBF46411873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AF$1</c:f>
              <c:numCache>
                <c:formatCode>General</c:formatCode>
                <c:ptCount val="32"/>
                <c:pt idx="0">
                  <c:v>5.32</c:v>
                </c:pt>
                <c:pt idx="1">
                  <c:v>3</c:v>
                </c:pt>
                <c:pt idx="2">
                  <c:v>2.4</c:v>
                </c:pt>
                <c:pt idx="3">
                  <c:v>2.16</c:v>
                </c:pt>
                <c:pt idx="4">
                  <c:v>2</c:v>
                </c:pt>
                <c:pt idx="5">
                  <c:v>1.65</c:v>
                </c:pt>
                <c:pt idx="6">
                  <c:v>1.48</c:v>
                </c:pt>
                <c:pt idx="7">
                  <c:v>0.84</c:v>
                </c:pt>
                <c:pt idx="8">
                  <c:v>0.68</c:v>
                </c:pt>
                <c:pt idx="9">
                  <c:v>0.24</c:v>
                </c:pt>
                <c:pt idx="10">
                  <c:v>0.2</c:v>
                </c:pt>
                <c:pt idx="11">
                  <c:v>0.19</c:v>
                </c:pt>
                <c:pt idx="12">
                  <c:v>0.15</c:v>
                </c:pt>
                <c:pt idx="13">
                  <c:v>0.12</c:v>
                </c:pt>
                <c:pt idx="14">
                  <c:v>0.1</c:v>
                </c:pt>
                <c:pt idx="15">
                  <c:v>0.06</c:v>
                </c:pt>
                <c:pt idx="16">
                  <c:v>0.01</c:v>
                </c:pt>
                <c:pt idx="17">
                  <c:v>3</c:v>
                </c:pt>
                <c:pt idx="18">
                  <c:v>2</c:v>
                </c:pt>
                <c:pt idx="19">
                  <c:v>1</c:v>
                </c:pt>
                <c:pt idx="20">
                  <c:v>3</c:v>
                </c:pt>
                <c:pt idx="21">
                  <c:v>2</c:v>
                </c:pt>
                <c:pt idx="22">
                  <c:v>4</c:v>
                </c:pt>
                <c:pt idx="23">
                  <c:v>4</c:v>
                </c:pt>
                <c:pt idx="24">
                  <c:v>4</c:v>
                </c:pt>
                <c:pt idx="25">
                  <c:v>4</c:v>
                </c:pt>
                <c:pt idx="26">
                  <c:v>3</c:v>
                </c:pt>
                <c:pt idx="27">
                  <c:v>10</c:v>
                </c:pt>
                <c:pt idx="28">
                  <c:v>2</c:v>
                </c:pt>
                <c:pt idx="29">
                  <c:v>2</c:v>
                </c:pt>
                <c:pt idx="30">
                  <c:v>5</c:v>
                </c:pt>
                <c:pt idx="3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542D-4D1A-92FB-BBF464118738}"/>
            </c:ext>
          </c:extLst>
        </c:ser>
        <c:ser>
          <c:idx val="1"/>
          <c:order val="1"/>
          <c:spPr>
            <a:solidFill>
              <a:srgbClr val="C4C4CD"/>
            </a:solidFill>
            <a:ln>
              <a:noFill/>
            </a:ln>
          </c:spPr>
          <c:invertIfNegative val="0"/>
          <c:dPt>
            <c:idx val="17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9-542D-4D1A-92FB-BBF464118738}"/>
              </c:ext>
            </c:extLst>
          </c:dPt>
          <c:dPt>
            <c:idx val="18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A-542D-4D1A-92FB-BBF464118738}"/>
              </c:ext>
            </c:extLst>
          </c:dPt>
          <c:dPt>
            <c:idx val="19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B-542D-4D1A-92FB-BBF464118738}"/>
              </c:ext>
            </c:extLst>
          </c:dPt>
          <c:dPt>
            <c:idx val="2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C-542D-4D1A-92FB-BBF464118738}"/>
              </c:ext>
            </c:extLst>
          </c:dPt>
          <c:dPt>
            <c:idx val="21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D-542D-4D1A-92FB-BBF464118738}"/>
              </c:ext>
            </c:extLst>
          </c:dPt>
          <c:dPt>
            <c:idx val="22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E-542D-4D1A-92FB-BBF464118738}"/>
              </c:ext>
            </c:extLst>
          </c:dPt>
          <c:dPt>
            <c:idx val="23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F-542D-4D1A-92FB-BBF464118738}"/>
              </c:ext>
            </c:extLst>
          </c:dPt>
          <c:dPt>
            <c:idx val="24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0-542D-4D1A-92FB-BBF464118738}"/>
              </c:ext>
            </c:extLst>
          </c:dPt>
          <c:dPt>
            <c:idx val="25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1-542D-4D1A-92FB-BBF464118738}"/>
              </c:ext>
            </c:extLst>
          </c:dPt>
          <c:dPt>
            <c:idx val="26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2-542D-4D1A-92FB-BBF464118738}"/>
              </c:ext>
            </c:extLst>
          </c:dPt>
          <c:dPt>
            <c:idx val="27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3-542D-4D1A-92FB-BBF464118738}"/>
              </c:ext>
            </c:extLst>
          </c:dPt>
          <c:dPt>
            <c:idx val="28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4-542D-4D1A-92FB-BBF464118738}"/>
              </c:ext>
            </c:extLst>
          </c:dPt>
          <c:dPt>
            <c:idx val="29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5-542D-4D1A-92FB-BBF464118738}"/>
              </c:ext>
            </c:extLst>
          </c:dPt>
          <c:dPt>
            <c:idx val="3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6-542D-4D1A-92FB-BBF464118738}"/>
              </c:ext>
            </c:extLst>
          </c:dPt>
          <c:dPt>
            <c:idx val="31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7-542D-4D1A-92FB-BBF464118738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8-542D-4D1A-92FB-BBF464118738}"/>
                </c:ext>
              </c:extLst>
            </c:dLbl>
            <c:dLbl>
              <c:idx val="2"/>
              <c:layout>
                <c:manualLayout>
                  <c:x val="0"/>
                  <c:y val="-7.163323782234956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9-542D-4D1A-92FB-BBF464118738}"/>
                </c:ext>
              </c:extLst>
            </c:dLbl>
            <c:dLbl>
              <c:idx val="3"/>
              <c:layout>
                <c:manualLayout>
                  <c:x val="0"/>
                  <c:y val="-7.163323782234956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A-542D-4D1A-92FB-BBF464118738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B-542D-4D1A-92FB-BBF464118738}"/>
                </c:ext>
              </c:extLst>
            </c:dLbl>
            <c:dLbl>
              <c:idx val="7"/>
              <c:layout>
                <c:manualLayout>
                  <c:x val="0"/>
                  <c:y val="-7.163323782234956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C-542D-4D1A-92FB-BBF464118738}"/>
                </c:ext>
              </c:extLst>
            </c:dLbl>
            <c:dLbl>
              <c:idx val="8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D-542D-4D1A-92FB-BBF464118738}"/>
                </c:ext>
              </c:extLst>
            </c:dLbl>
            <c:dLbl>
              <c:idx val="9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E-542D-4D1A-92FB-BBF464118738}"/>
                </c:ext>
              </c:extLst>
            </c:dLbl>
            <c:dLbl>
              <c:idx val="10"/>
              <c:layout>
                <c:manualLayout>
                  <c:x val="0"/>
                  <c:y val="-7.163323782234956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F-542D-4D1A-92FB-BBF464118738}"/>
                </c:ext>
              </c:extLst>
            </c:dLbl>
            <c:dLbl>
              <c:idx val="11"/>
              <c:layout>
                <c:manualLayout>
                  <c:x val="0"/>
                  <c:y val="-7.163323782234956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0-542D-4D1A-92FB-BBF464118738}"/>
                </c:ext>
              </c:extLst>
            </c:dLbl>
            <c:dLbl>
              <c:idx val="1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1-542D-4D1A-92FB-BBF464118738}"/>
                </c:ext>
              </c:extLst>
            </c:dLbl>
            <c:dLbl>
              <c:idx val="1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2-542D-4D1A-92FB-BBF464118738}"/>
                </c:ext>
              </c:extLst>
            </c:dLbl>
            <c:dLbl>
              <c:idx val="1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3-542D-4D1A-92FB-BBF464118738}"/>
                </c:ext>
              </c:extLst>
            </c:dLbl>
            <c:dLbl>
              <c:idx val="15"/>
              <c:layout>
                <c:manualLayout>
                  <c:x val="0"/>
                  <c:y val="-7.163323782234956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4-542D-4D1A-92FB-BBF464118738}"/>
                </c:ext>
              </c:extLst>
            </c:dLbl>
            <c:dLbl>
              <c:idx val="16"/>
              <c:layout>
                <c:manualLayout>
                  <c:x val="0"/>
                  <c:y val="-7.163323782234956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35-542D-4D1A-92FB-BBF46411873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AF$2</c:f>
              <c:numCache>
                <c:formatCode>General</c:formatCode>
                <c:ptCount val="32"/>
                <c:pt idx="0">
                  <c:v>1.6799999999999997</c:v>
                </c:pt>
                <c:pt idx="1">
                  <c:v>0</c:v>
                </c:pt>
                <c:pt idx="2">
                  <c:v>1.6</c:v>
                </c:pt>
                <c:pt idx="3">
                  <c:v>0.83999999999999986</c:v>
                </c:pt>
                <c:pt idx="4">
                  <c:v>0</c:v>
                </c:pt>
                <c:pt idx="5">
                  <c:v>0.35000000000000009</c:v>
                </c:pt>
                <c:pt idx="6">
                  <c:v>0.52</c:v>
                </c:pt>
                <c:pt idx="7">
                  <c:v>2.16</c:v>
                </c:pt>
                <c:pt idx="8">
                  <c:v>1.3199999999999998</c:v>
                </c:pt>
                <c:pt idx="9">
                  <c:v>0.76</c:v>
                </c:pt>
                <c:pt idx="10">
                  <c:v>3.8</c:v>
                </c:pt>
                <c:pt idx="11">
                  <c:v>2.81</c:v>
                </c:pt>
                <c:pt idx="12">
                  <c:v>0.85</c:v>
                </c:pt>
                <c:pt idx="13">
                  <c:v>4.88</c:v>
                </c:pt>
                <c:pt idx="14">
                  <c:v>0.9</c:v>
                </c:pt>
                <c:pt idx="15">
                  <c:v>0.94</c:v>
                </c:pt>
                <c:pt idx="16">
                  <c:v>2.99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6-542D-4D1A-92FB-BBF4641187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344150695"/>
        <c:axId val="1"/>
      </c:barChart>
      <c:catAx>
        <c:axId val="3441506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3175" algn="ctr">
            <a:solidFill>
              <a:srgbClr val="74748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"/>
          <c:min val="0"/>
        </c:scaling>
        <c:delete val="0"/>
        <c:axPos val="l"/>
        <c:majorGridlines>
          <c:spPr>
            <a:ln w="3175" algn="ctr">
              <a:solidFill>
                <a:srgbClr val="747480"/>
              </a:solidFill>
              <a:prstDash val="solid"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344150695"/>
        <c:crosses val="min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79959EE-3D19-4B86-960D-D3DD412420D0}" type="doc">
      <dgm:prSet loTypeId="urn:microsoft.com/office/officeart/2009/layout/CircleArrow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B1DA65D-3F29-474D-B88D-8692F3D79319}">
      <dgm:prSet phldrT="[Text]" custT="1"/>
      <dgm:spPr/>
      <dgm:t>
        <a:bodyPr/>
        <a:lstStyle/>
        <a:p>
          <a:r>
            <a:rPr lang="ro-RO" sz="1200" b="1" dirty="0">
              <a:solidFill>
                <a:schemeClr val="bg1"/>
              </a:solidFill>
            </a:rPr>
            <a:t>Analizarea strategiilor existente la nivelul ADR și stabilirea misiunii, viziunii și obiectivelor strategice (BSC)</a:t>
          </a:r>
          <a:endParaRPr lang="en-US" sz="1200" b="1" dirty="0">
            <a:solidFill>
              <a:schemeClr val="bg1"/>
            </a:solidFill>
          </a:endParaRPr>
        </a:p>
      </dgm:t>
    </dgm:pt>
    <dgm:pt modelId="{BA11B06F-0E57-4EC8-A7BF-69F81E8A7F3B}" type="parTrans" cxnId="{2F364E9F-A54F-44D6-9F78-3527BC753C67}">
      <dgm:prSet/>
      <dgm:spPr/>
      <dgm:t>
        <a:bodyPr/>
        <a:lstStyle/>
        <a:p>
          <a:endParaRPr lang="en-US"/>
        </a:p>
      </dgm:t>
    </dgm:pt>
    <dgm:pt modelId="{6549CD9B-5225-47A9-BCB4-582B2F80E0E4}" type="sibTrans" cxnId="{2F364E9F-A54F-44D6-9F78-3527BC753C67}">
      <dgm:prSet/>
      <dgm:spPr/>
      <dgm:t>
        <a:bodyPr/>
        <a:lstStyle/>
        <a:p>
          <a:endParaRPr lang="en-US"/>
        </a:p>
      </dgm:t>
    </dgm:pt>
    <dgm:pt modelId="{CFE6A571-D641-40D3-A152-8073F3167218}">
      <dgm:prSet phldrT="[Text]" custT="1"/>
      <dgm:spPr>
        <a:noFill/>
        <a:ln>
          <a:noFill/>
        </a:ln>
        <a:effectLst/>
      </dgm:spPr>
      <dgm:t>
        <a:bodyPr spcFirstLastPara="0" vert="horz" wrap="square" lIns="7620" tIns="7620" rIns="7620" bIns="7620" numCol="1" spcCol="1270" anchor="ctr" anchorCtr="0"/>
        <a:lstStyle/>
        <a:p>
          <a:r>
            <a:rPr lang="ro-RO" sz="1200" b="1" i="0" kern="1200" dirty="0">
              <a:solidFill>
                <a:schemeClr val="bg1"/>
              </a:solidFill>
              <a:latin typeface="+mn-lt"/>
            </a:rPr>
            <a:t>Elaborarea de KPI pentru măsurarea obiectivul strategic</a:t>
          </a:r>
        </a:p>
        <a:p>
          <a:r>
            <a:rPr lang="ro-RO" sz="1200" b="1" i="0" kern="1200" dirty="0">
              <a:solidFill>
                <a:srgbClr val="FFE600"/>
              </a:solidFill>
              <a:latin typeface="+mn-lt"/>
            </a:rPr>
            <a:t>Continuarea digitalizării serviciilor publice asociate </a:t>
          </a:r>
          <a:r>
            <a:rPr lang="ro-RO" sz="1200" b="1" i="0" kern="1200" dirty="0">
              <a:solidFill>
                <a:srgbClr val="FFE600"/>
              </a:solidFill>
              <a:latin typeface="+mn-lt"/>
              <a:ea typeface="+mn-ea"/>
              <a:cs typeface="+mn-cs"/>
            </a:rPr>
            <a:t>evenimentelor</a:t>
          </a:r>
          <a:r>
            <a:rPr lang="ro-RO" sz="1200" b="1" i="0" kern="1200" dirty="0">
              <a:solidFill>
                <a:srgbClr val="FFE600"/>
              </a:solidFill>
              <a:latin typeface="+mn-lt"/>
            </a:rPr>
            <a:t> de viață tratate în Politica Publică de e-Guvernare </a:t>
          </a:r>
          <a:endParaRPr lang="en-US" sz="1200" b="1" i="0" kern="1200" dirty="0">
            <a:solidFill>
              <a:srgbClr val="FFE600"/>
            </a:solidFill>
            <a:latin typeface="+mn-lt"/>
          </a:endParaRPr>
        </a:p>
      </dgm:t>
    </dgm:pt>
    <dgm:pt modelId="{B5F5F9A0-9BD1-4746-BD91-BA5BE7BBE3A9}" type="parTrans" cxnId="{3ECEF75D-1C65-46FD-96FD-9846F091B07F}">
      <dgm:prSet/>
      <dgm:spPr/>
      <dgm:t>
        <a:bodyPr/>
        <a:lstStyle/>
        <a:p>
          <a:endParaRPr lang="en-US"/>
        </a:p>
      </dgm:t>
    </dgm:pt>
    <dgm:pt modelId="{DB02EA27-FD33-4243-8161-E7BD74B7D020}" type="sibTrans" cxnId="{3ECEF75D-1C65-46FD-96FD-9846F091B07F}">
      <dgm:prSet/>
      <dgm:spPr/>
      <dgm:t>
        <a:bodyPr/>
        <a:lstStyle/>
        <a:p>
          <a:endParaRPr lang="en-US"/>
        </a:p>
      </dgm:t>
    </dgm:pt>
    <dgm:pt modelId="{08DE4FFB-40AA-44C5-8768-5AB82AE14E3C}">
      <dgm:prSet custT="1"/>
      <dgm:spPr>
        <a:noFill/>
        <a:ln>
          <a:noFill/>
        </a:ln>
        <a:effectLst/>
      </dgm:spPr>
      <dgm:t>
        <a:bodyPr spcFirstLastPara="0" vert="horz" wrap="square" lIns="7620" tIns="7620" rIns="7620" bIns="7620" numCol="1" spcCol="1270" anchor="ctr" anchorCtr="0"/>
        <a:lstStyle/>
        <a:p>
          <a:r>
            <a:rPr lang="ro-RO" sz="1200" b="1" i="0" kern="1200" dirty="0">
              <a:solidFill>
                <a:prstClr val="white"/>
              </a:solidFill>
              <a:latin typeface="EYInterstate Light"/>
              <a:ea typeface="+mn-ea"/>
              <a:cs typeface="+mn-cs"/>
            </a:rPr>
            <a:t>Transpunerea datelor în aplicația IT care generează </a:t>
          </a:r>
          <a:r>
            <a:rPr lang="ro-RO" sz="1200" b="1" i="1" kern="1200" dirty="0" err="1">
              <a:solidFill>
                <a:prstClr val="white"/>
              </a:solidFill>
              <a:latin typeface="EYInterstate Light"/>
              <a:ea typeface="+mn-ea"/>
              <a:cs typeface="+mn-cs"/>
            </a:rPr>
            <a:t>dashboard-ul</a:t>
          </a:r>
          <a:r>
            <a:rPr lang="ro-RO" sz="1200" b="1" i="0" kern="1200" dirty="0">
              <a:solidFill>
                <a:prstClr val="white"/>
              </a:solidFill>
              <a:latin typeface="EYInterstate Light"/>
              <a:ea typeface="+mn-ea"/>
              <a:cs typeface="+mn-cs"/>
            </a:rPr>
            <a:t> privind nivelul de digitalizare al evenimentelor de viață </a:t>
          </a:r>
          <a:endParaRPr lang="en-US" sz="1200" b="1" i="0" kern="1200" dirty="0">
            <a:solidFill>
              <a:prstClr val="white"/>
            </a:solidFill>
            <a:latin typeface="EYInterstate Light"/>
            <a:ea typeface="+mn-ea"/>
            <a:cs typeface="+mn-cs"/>
          </a:endParaRPr>
        </a:p>
      </dgm:t>
    </dgm:pt>
    <dgm:pt modelId="{A4E42464-EB77-4B88-A505-A03093B3B1AE}" type="parTrans" cxnId="{B0A47B3E-B8C9-47DE-BD0F-622770272F66}">
      <dgm:prSet/>
      <dgm:spPr/>
      <dgm:t>
        <a:bodyPr/>
        <a:lstStyle/>
        <a:p>
          <a:endParaRPr lang="en-US"/>
        </a:p>
      </dgm:t>
    </dgm:pt>
    <dgm:pt modelId="{CCC0F24A-F274-4A88-80B0-AA12298C9088}" type="sibTrans" cxnId="{B0A47B3E-B8C9-47DE-BD0F-622770272F66}">
      <dgm:prSet/>
      <dgm:spPr/>
      <dgm:t>
        <a:bodyPr/>
        <a:lstStyle/>
        <a:p>
          <a:endParaRPr lang="en-US"/>
        </a:p>
      </dgm:t>
    </dgm:pt>
    <dgm:pt modelId="{72BB59DD-0C79-41E1-B40B-ED5F8568B551}">
      <dgm:prSet phldrT="[Text]" custT="1"/>
      <dgm:spPr>
        <a:noFill/>
        <a:ln>
          <a:noFill/>
        </a:ln>
        <a:effectLst/>
      </dgm:spPr>
      <dgm:t>
        <a:bodyPr spcFirstLastPara="0" vert="horz" wrap="square" lIns="7620" tIns="7620" rIns="7620" bIns="7620" numCol="1" spcCol="1270" anchor="ctr" anchorCtr="0"/>
        <a:lstStyle/>
        <a:p>
          <a:r>
            <a:rPr lang="ro-RO" sz="1200" b="1" i="0" kern="1200" dirty="0">
              <a:solidFill>
                <a:prstClr val="white"/>
              </a:solidFill>
              <a:latin typeface="EYInterstate Light"/>
              <a:ea typeface="+mn-ea"/>
              <a:cs typeface="+mn-cs"/>
            </a:rPr>
            <a:t>Colectarea valorilor </a:t>
          </a:r>
          <a:r>
            <a:rPr lang="ro-RO" sz="1200" b="1" i="1" kern="1200" dirty="0" err="1">
              <a:solidFill>
                <a:prstClr val="white"/>
              </a:solidFill>
              <a:latin typeface="EYInterstate Light"/>
              <a:ea typeface="+mn-ea"/>
              <a:cs typeface="+mn-cs"/>
            </a:rPr>
            <a:t>baseline</a:t>
          </a:r>
          <a:r>
            <a:rPr lang="ro-RO" sz="1200" b="1" i="0" kern="1200" dirty="0">
              <a:solidFill>
                <a:prstClr val="white"/>
              </a:solidFill>
              <a:latin typeface="EYInterstate Light"/>
              <a:ea typeface="+mn-ea"/>
              <a:cs typeface="+mn-cs"/>
            </a:rPr>
            <a:t> prin transmiterea de adrese către instituțiile publice care administrează evenimentele de viață</a:t>
          </a:r>
          <a:endParaRPr lang="en-US" sz="1200" b="1" i="0" kern="1200" dirty="0">
            <a:solidFill>
              <a:prstClr val="white"/>
            </a:solidFill>
            <a:latin typeface="EYInterstate Light"/>
            <a:ea typeface="+mn-ea"/>
            <a:cs typeface="+mn-cs"/>
          </a:endParaRPr>
        </a:p>
      </dgm:t>
    </dgm:pt>
    <dgm:pt modelId="{D343CB35-1FCF-428C-B9CA-BC3737EE0F5A}" type="sibTrans" cxnId="{A06C8CF0-2EC5-4732-812F-A5A7AEA4FEC0}">
      <dgm:prSet/>
      <dgm:spPr/>
      <dgm:t>
        <a:bodyPr/>
        <a:lstStyle/>
        <a:p>
          <a:endParaRPr lang="en-US"/>
        </a:p>
      </dgm:t>
    </dgm:pt>
    <dgm:pt modelId="{A6D61B5A-F58C-495C-A9D7-C095E0E6B60E}" type="parTrans" cxnId="{A06C8CF0-2EC5-4732-812F-A5A7AEA4FEC0}">
      <dgm:prSet/>
      <dgm:spPr/>
      <dgm:t>
        <a:bodyPr/>
        <a:lstStyle/>
        <a:p>
          <a:endParaRPr lang="en-US"/>
        </a:p>
      </dgm:t>
    </dgm:pt>
    <dgm:pt modelId="{33D34EE7-66E8-4D05-A9D3-A207FCA00CBD}" type="pres">
      <dgm:prSet presAssocID="{379959EE-3D19-4B86-960D-D3DD412420D0}" presName="Name0" presStyleCnt="0">
        <dgm:presLayoutVars>
          <dgm:chMax val="7"/>
          <dgm:chPref val="7"/>
          <dgm:dir/>
          <dgm:animLvl val="lvl"/>
        </dgm:presLayoutVars>
      </dgm:prSet>
      <dgm:spPr/>
    </dgm:pt>
    <dgm:pt modelId="{BD3BE37A-8F15-4E52-94FD-79E275CE31CA}" type="pres">
      <dgm:prSet presAssocID="{7B1DA65D-3F29-474D-B88D-8692F3D79319}" presName="Accent1" presStyleCnt="0"/>
      <dgm:spPr/>
    </dgm:pt>
    <dgm:pt modelId="{39C60B53-0FF6-4106-ADFB-25190DD88C4E}" type="pres">
      <dgm:prSet presAssocID="{7B1DA65D-3F29-474D-B88D-8692F3D79319}" presName="Accent" presStyleLbl="node1" presStyleIdx="0" presStyleCnt="4"/>
      <dgm:spPr>
        <a:noFill/>
        <a:ln>
          <a:solidFill>
            <a:srgbClr val="FFE600"/>
          </a:solidFill>
        </a:ln>
      </dgm:spPr>
    </dgm:pt>
    <dgm:pt modelId="{26D1127F-EB81-4B0F-BDEE-8C86F3A0EB51}" type="pres">
      <dgm:prSet presAssocID="{7B1DA65D-3F29-474D-B88D-8692F3D79319}" presName="Parent1" presStyleLbl="revTx" presStyleIdx="0" presStyleCnt="4" custScaleX="129405" custLinFactX="-50450" custLinFactNeighborX="-100000" custLinFactNeighborY="-28296">
        <dgm:presLayoutVars>
          <dgm:chMax val="1"/>
          <dgm:chPref val="1"/>
          <dgm:bulletEnabled val="1"/>
        </dgm:presLayoutVars>
      </dgm:prSet>
      <dgm:spPr/>
    </dgm:pt>
    <dgm:pt modelId="{7AF534B4-F608-49A7-89FD-BD22CEA3CF43}" type="pres">
      <dgm:prSet presAssocID="{CFE6A571-D641-40D3-A152-8073F3167218}" presName="Accent2" presStyleCnt="0"/>
      <dgm:spPr/>
    </dgm:pt>
    <dgm:pt modelId="{0D70EDC2-C0FF-4631-82A3-CE6ECFAC9AD3}" type="pres">
      <dgm:prSet presAssocID="{CFE6A571-D641-40D3-A152-8073F3167218}" presName="Accent" presStyleLbl="node1" presStyleIdx="1" presStyleCnt="4"/>
      <dgm:spPr>
        <a:noFill/>
        <a:ln>
          <a:solidFill>
            <a:srgbClr val="FFE600"/>
          </a:solidFill>
        </a:ln>
      </dgm:spPr>
    </dgm:pt>
    <dgm:pt modelId="{B065FA12-D378-41CB-946D-561696D62F9E}" type="pres">
      <dgm:prSet presAssocID="{CFE6A571-D641-40D3-A152-8073F3167218}" presName="Parent2" presStyleLbl="revTx" presStyleIdx="1" presStyleCnt="4" custScaleX="147768" custScaleY="100306" custLinFactX="85241" custLinFactNeighborX="100000" custLinFactNeighborY="-23678">
        <dgm:presLayoutVars>
          <dgm:chMax val="1"/>
          <dgm:chPref val="1"/>
          <dgm:bulletEnabled val="1"/>
        </dgm:presLayoutVars>
      </dgm:prSet>
      <dgm:spPr>
        <a:xfrm>
          <a:off x="1977346" y="1913365"/>
          <a:ext cx="1140799" cy="570340"/>
        </a:xfrm>
        <a:prstGeom prst="rect">
          <a:avLst/>
        </a:prstGeom>
      </dgm:spPr>
    </dgm:pt>
    <dgm:pt modelId="{32908D30-FD3C-477E-9031-545DD35E0564}" type="pres">
      <dgm:prSet presAssocID="{72BB59DD-0C79-41E1-B40B-ED5F8568B551}" presName="Accent3" presStyleCnt="0"/>
      <dgm:spPr/>
    </dgm:pt>
    <dgm:pt modelId="{4EB92D3F-34EA-4916-8DC8-A1D7A2DEFB79}" type="pres">
      <dgm:prSet presAssocID="{72BB59DD-0C79-41E1-B40B-ED5F8568B551}" presName="Accent" presStyleLbl="node1" presStyleIdx="2" presStyleCnt="4"/>
      <dgm:spPr>
        <a:noFill/>
        <a:ln>
          <a:solidFill>
            <a:srgbClr val="FFE600"/>
          </a:solidFill>
        </a:ln>
      </dgm:spPr>
    </dgm:pt>
    <dgm:pt modelId="{C2B9073C-11FB-44A0-A2E0-4DF28FF17EFD}" type="pres">
      <dgm:prSet presAssocID="{72BB59DD-0C79-41E1-B40B-ED5F8568B551}" presName="Parent3" presStyleLbl="revTx" presStyleIdx="2" presStyleCnt="4" custScaleX="117514" custLinFactX="-62645" custLinFactNeighborX="-100000" custLinFactNeighborY="-3054">
        <dgm:presLayoutVars>
          <dgm:chMax val="1"/>
          <dgm:chPref val="1"/>
          <dgm:bulletEnabled val="1"/>
        </dgm:presLayoutVars>
      </dgm:prSet>
      <dgm:spPr>
        <a:xfrm>
          <a:off x="989254" y="3067916"/>
          <a:ext cx="1140799" cy="570340"/>
        </a:xfrm>
        <a:prstGeom prst="rect">
          <a:avLst/>
        </a:prstGeom>
      </dgm:spPr>
    </dgm:pt>
    <dgm:pt modelId="{53BB07BF-5746-42B6-86B1-5E7436170E1F}" type="pres">
      <dgm:prSet presAssocID="{08DE4FFB-40AA-44C5-8768-5AB82AE14E3C}" presName="Accent4" presStyleCnt="0"/>
      <dgm:spPr/>
    </dgm:pt>
    <dgm:pt modelId="{47B6DC0D-4872-4B1B-8372-77897DDF100D}" type="pres">
      <dgm:prSet presAssocID="{08DE4FFB-40AA-44C5-8768-5AB82AE14E3C}" presName="Accent" presStyleLbl="node1" presStyleIdx="3" presStyleCnt="4"/>
      <dgm:spPr>
        <a:xfrm>
          <a:off x="1509100" y="3664384"/>
          <a:ext cx="1756255" cy="1757104"/>
        </a:xfrm>
        <a:prstGeom prst="blockArc">
          <a:avLst>
            <a:gd name="adj1" fmla="val 0"/>
            <a:gd name="adj2" fmla="val 18900000"/>
            <a:gd name="adj3" fmla="val 12740"/>
          </a:avLst>
        </a:prstGeom>
        <a:noFill/>
        <a:ln w="25400" cap="flat" cmpd="sng" algn="ctr">
          <a:solidFill>
            <a:srgbClr val="FFE600"/>
          </a:solidFill>
          <a:prstDash val="solid"/>
        </a:ln>
        <a:effectLst/>
      </dgm:spPr>
    </dgm:pt>
    <dgm:pt modelId="{11F47DF0-080B-4274-B831-940AAB3445F4}" type="pres">
      <dgm:prSet presAssocID="{08DE4FFB-40AA-44C5-8768-5AB82AE14E3C}" presName="Parent4" presStyleLbl="revTx" presStyleIdx="3" presStyleCnt="4" custScaleX="142832" custLinFactX="63362" custLinFactNeighborX="100000" custLinFactNeighborY="24430">
        <dgm:presLayoutVars>
          <dgm:chMax val="1"/>
          <dgm:chPref val="1"/>
          <dgm:bulletEnabled val="1"/>
        </dgm:presLayoutVars>
      </dgm:prSet>
      <dgm:spPr>
        <a:xfrm>
          <a:off x="3606382" y="4175254"/>
          <a:ext cx="1140799" cy="570340"/>
        </a:xfrm>
        <a:prstGeom prst="rect">
          <a:avLst/>
        </a:prstGeom>
      </dgm:spPr>
    </dgm:pt>
  </dgm:ptLst>
  <dgm:cxnLst>
    <dgm:cxn modelId="{A3E5D834-DE5A-45F8-868D-6FADEF983E76}" type="presOf" srcId="{CFE6A571-D641-40D3-A152-8073F3167218}" destId="{B065FA12-D378-41CB-946D-561696D62F9E}" srcOrd="0" destOrd="0" presId="urn:microsoft.com/office/officeart/2009/layout/CircleArrowProcess"/>
    <dgm:cxn modelId="{1422853A-A9F4-40D7-BFA8-D9144F11A333}" type="presOf" srcId="{08DE4FFB-40AA-44C5-8768-5AB82AE14E3C}" destId="{11F47DF0-080B-4274-B831-940AAB3445F4}" srcOrd="0" destOrd="0" presId="urn:microsoft.com/office/officeart/2009/layout/CircleArrowProcess"/>
    <dgm:cxn modelId="{B0A47B3E-B8C9-47DE-BD0F-622770272F66}" srcId="{379959EE-3D19-4B86-960D-D3DD412420D0}" destId="{08DE4FFB-40AA-44C5-8768-5AB82AE14E3C}" srcOrd="3" destOrd="0" parTransId="{A4E42464-EB77-4B88-A505-A03093B3B1AE}" sibTransId="{CCC0F24A-F274-4A88-80B0-AA12298C9088}"/>
    <dgm:cxn modelId="{3ECEF75D-1C65-46FD-96FD-9846F091B07F}" srcId="{379959EE-3D19-4B86-960D-D3DD412420D0}" destId="{CFE6A571-D641-40D3-A152-8073F3167218}" srcOrd="1" destOrd="0" parTransId="{B5F5F9A0-9BD1-4746-BD91-BA5BE7BBE3A9}" sibTransId="{DB02EA27-FD33-4243-8161-E7BD74B7D020}"/>
    <dgm:cxn modelId="{20EB3945-1908-4D74-BA90-40E79DD6AE29}" type="presOf" srcId="{379959EE-3D19-4B86-960D-D3DD412420D0}" destId="{33D34EE7-66E8-4D05-A9D3-A207FCA00CBD}" srcOrd="0" destOrd="0" presId="urn:microsoft.com/office/officeart/2009/layout/CircleArrowProcess"/>
    <dgm:cxn modelId="{C4E5106E-2F29-4A26-80BC-874DA3F7C0E0}" type="presOf" srcId="{7B1DA65D-3F29-474D-B88D-8692F3D79319}" destId="{26D1127F-EB81-4B0F-BDEE-8C86F3A0EB51}" srcOrd="0" destOrd="0" presId="urn:microsoft.com/office/officeart/2009/layout/CircleArrowProcess"/>
    <dgm:cxn modelId="{B18F3552-14E7-4367-A376-1A06CA798084}" type="presOf" srcId="{72BB59DD-0C79-41E1-B40B-ED5F8568B551}" destId="{C2B9073C-11FB-44A0-A2E0-4DF28FF17EFD}" srcOrd="0" destOrd="0" presId="urn:microsoft.com/office/officeart/2009/layout/CircleArrowProcess"/>
    <dgm:cxn modelId="{2F364E9F-A54F-44D6-9F78-3527BC753C67}" srcId="{379959EE-3D19-4B86-960D-D3DD412420D0}" destId="{7B1DA65D-3F29-474D-B88D-8692F3D79319}" srcOrd="0" destOrd="0" parTransId="{BA11B06F-0E57-4EC8-A7BF-69F81E8A7F3B}" sibTransId="{6549CD9B-5225-47A9-BCB4-582B2F80E0E4}"/>
    <dgm:cxn modelId="{A06C8CF0-2EC5-4732-812F-A5A7AEA4FEC0}" srcId="{379959EE-3D19-4B86-960D-D3DD412420D0}" destId="{72BB59DD-0C79-41E1-B40B-ED5F8568B551}" srcOrd="2" destOrd="0" parTransId="{A6D61B5A-F58C-495C-A9D7-C095E0E6B60E}" sibTransId="{D343CB35-1FCF-428C-B9CA-BC3737EE0F5A}"/>
    <dgm:cxn modelId="{67892D37-C178-42F0-8C88-BF6EEB2B4C69}" type="presParOf" srcId="{33D34EE7-66E8-4D05-A9D3-A207FCA00CBD}" destId="{BD3BE37A-8F15-4E52-94FD-79E275CE31CA}" srcOrd="0" destOrd="0" presId="urn:microsoft.com/office/officeart/2009/layout/CircleArrowProcess"/>
    <dgm:cxn modelId="{D5F00D2E-FF40-470F-A4A1-E93839B791C7}" type="presParOf" srcId="{BD3BE37A-8F15-4E52-94FD-79E275CE31CA}" destId="{39C60B53-0FF6-4106-ADFB-25190DD88C4E}" srcOrd="0" destOrd="0" presId="urn:microsoft.com/office/officeart/2009/layout/CircleArrowProcess"/>
    <dgm:cxn modelId="{423BE5F8-44B2-4DB5-A91A-CEE220C454D5}" type="presParOf" srcId="{33D34EE7-66E8-4D05-A9D3-A207FCA00CBD}" destId="{26D1127F-EB81-4B0F-BDEE-8C86F3A0EB51}" srcOrd="1" destOrd="0" presId="urn:microsoft.com/office/officeart/2009/layout/CircleArrowProcess"/>
    <dgm:cxn modelId="{E224F5F4-FAC4-4690-BEF3-E8AE6A7C8C04}" type="presParOf" srcId="{33D34EE7-66E8-4D05-A9D3-A207FCA00CBD}" destId="{7AF534B4-F608-49A7-89FD-BD22CEA3CF43}" srcOrd="2" destOrd="0" presId="urn:microsoft.com/office/officeart/2009/layout/CircleArrowProcess"/>
    <dgm:cxn modelId="{ECC64D48-D964-4969-935C-19EC7BF76396}" type="presParOf" srcId="{7AF534B4-F608-49A7-89FD-BD22CEA3CF43}" destId="{0D70EDC2-C0FF-4631-82A3-CE6ECFAC9AD3}" srcOrd="0" destOrd="0" presId="urn:microsoft.com/office/officeart/2009/layout/CircleArrowProcess"/>
    <dgm:cxn modelId="{CCEBE448-9F64-4CBF-B676-86CC631E908C}" type="presParOf" srcId="{33D34EE7-66E8-4D05-A9D3-A207FCA00CBD}" destId="{B065FA12-D378-41CB-946D-561696D62F9E}" srcOrd="3" destOrd="0" presId="urn:microsoft.com/office/officeart/2009/layout/CircleArrowProcess"/>
    <dgm:cxn modelId="{38D5F25B-B1BD-4BBD-AF53-4DBB9F0F5B62}" type="presParOf" srcId="{33D34EE7-66E8-4D05-A9D3-A207FCA00CBD}" destId="{32908D30-FD3C-477E-9031-545DD35E0564}" srcOrd="4" destOrd="0" presId="urn:microsoft.com/office/officeart/2009/layout/CircleArrowProcess"/>
    <dgm:cxn modelId="{8110469E-17E9-4E28-902A-91C3B8AA7225}" type="presParOf" srcId="{32908D30-FD3C-477E-9031-545DD35E0564}" destId="{4EB92D3F-34EA-4916-8DC8-A1D7A2DEFB79}" srcOrd="0" destOrd="0" presId="urn:microsoft.com/office/officeart/2009/layout/CircleArrowProcess"/>
    <dgm:cxn modelId="{B2A43567-0683-4B3F-A25A-06E8F504C613}" type="presParOf" srcId="{33D34EE7-66E8-4D05-A9D3-A207FCA00CBD}" destId="{C2B9073C-11FB-44A0-A2E0-4DF28FF17EFD}" srcOrd="5" destOrd="0" presId="urn:microsoft.com/office/officeart/2009/layout/CircleArrowProcess"/>
    <dgm:cxn modelId="{FF1E22EF-6571-41F9-A554-619FABACC4AD}" type="presParOf" srcId="{33D34EE7-66E8-4D05-A9D3-A207FCA00CBD}" destId="{53BB07BF-5746-42B6-86B1-5E7436170E1F}" srcOrd="6" destOrd="0" presId="urn:microsoft.com/office/officeart/2009/layout/CircleArrowProcess"/>
    <dgm:cxn modelId="{BC828D42-92D9-4C4B-AB10-B6DF2961B6DD}" type="presParOf" srcId="{53BB07BF-5746-42B6-86B1-5E7436170E1F}" destId="{47B6DC0D-4872-4B1B-8372-77897DDF100D}" srcOrd="0" destOrd="0" presId="urn:microsoft.com/office/officeart/2009/layout/CircleArrowProcess"/>
    <dgm:cxn modelId="{F2D1C8B9-8758-4595-A09F-17CB11B51A39}" type="presParOf" srcId="{33D34EE7-66E8-4D05-A9D3-A207FCA00CBD}" destId="{11F47DF0-080B-4274-B831-940AAB3445F4}" srcOrd="7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9C60B53-0FF6-4106-ADFB-25190DD88C4E}">
      <dsp:nvSpPr>
        <dsp:cNvPr id="0" name=""/>
        <dsp:cNvSpPr/>
      </dsp:nvSpPr>
      <dsp:spPr>
        <a:xfrm>
          <a:off x="1931291" y="0"/>
          <a:ext cx="2044235" cy="2044443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noFill/>
        <a:ln w="25400" cap="flat" cmpd="sng" algn="ctr">
          <a:solidFill>
            <a:srgbClr val="FFE6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6D1127F-EB81-4B0F-BDEE-8C86F3A0EB51}">
      <dsp:nvSpPr>
        <dsp:cNvPr id="0" name=""/>
        <dsp:cNvSpPr/>
      </dsp:nvSpPr>
      <dsp:spPr>
        <a:xfrm>
          <a:off x="498568" y="578649"/>
          <a:ext cx="1476251" cy="5703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o-RO" sz="1200" b="1" kern="1200" dirty="0">
              <a:solidFill>
                <a:schemeClr val="bg1"/>
              </a:solidFill>
            </a:rPr>
            <a:t>Analizarea strategiilor existente la nivelul ADR și stabilirea misiunii, viziunii și obiectivelor strategice (BSC)</a:t>
          </a:r>
          <a:endParaRPr lang="en-US" sz="1200" b="1" kern="1200" dirty="0">
            <a:solidFill>
              <a:schemeClr val="bg1"/>
            </a:solidFill>
          </a:endParaRPr>
        </a:p>
      </dsp:txBody>
      <dsp:txXfrm>
        <a:off x="498568" y="578649"/>
        <a:ext cx="1476251" cy="570340"/>
      </dsp:txXfrm>
    </dsp:sp>
    <dsp:sp modelId="{0D70EDC2-C0FF-4631-82A3-CE6ECFAC9AD3}">
      <dsp:nvSpPr>
        <dsp:cNvPr id="0" name=""/>
        <dsp:cNvSpPr/>
      </dsp:nvSpPr>
      <dsp:spPr>
        <a:xfrm>
          <a:off x="1363384" y="1174836"/>
          <a:ext cx="2044235" cy="2044443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noFill/>
        <a:ln w="25400" cap="flat" cmpd="sng" algn="ctr">
          <a:solidFill>
            <a:srgbClr val="FFE6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065FA12-D378-41CB-946D-561696D62F9E}">
      <dsp:nvSpPr>
        <dsp:cNvPr id="0" name=""/>
        <dsp:cNvSpPr/>
      </dsp:nvSpPr>
      <dsp:spPr>
        <a:xfrm>
          <a:off x="3653175" y="1781120"/>
          <a:ext cx="1685736" cy="5720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o-RO" sz="1200" b="1" i="0" kern="1200" dirty="0">
              <a:solidFill>
                <a:schemeClr val="bg1"/>
              </a:solidFill>
              <a:latin typeface="+mn-lt"/>
            </a:rPr>
            <a:t>Elaborarea de KPI pentru măsurarea obiectivul strategic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o-RO" sz="1200" b="1" i="0" kern="1200" dirty="0">
              <a:solidFill>
                <a:srgbClr val="FFE600"/>
              </a:solidFill>
              <a:latin typeface="+mn-lt"/>
            </a:rPr>
            <a:t>Continuarea digitalizării serviciilor publice asociate </a:t>
          </a:r>
          <a:r>
            <a:rPr lang="ro-RO" sz="1200" b="1" i="0" kern="1200" dirty="0">
              <a:solidFill>
                <a:srgbClr val="FFE600"/>
              </a:solidFill>
              <a:latin typeface="+mn-lt"/>
              <a:ea typeface="+mn-ea"/>
              <a:cs typeface="+mn-cs"/>
            </a:rPr>
            <a:t>evenimentelor</a:t>
          </a:r>
          <a:r>
            <a:rPr lang="ro-RO" sz="1200" b="1" i="0" kern="1200" dirty="0">
              <a:solidFill>
                <a:srgbClr val="FFE600"/>
              </a:solidFill>
              <a:latin typeface="+mn-lt"/>
            </a:rPr>
            <a:t> de viață tratate în Politica Publică de e-Guvernare </a:t>
          </a:r>
          <a:endParaRPr lang="en-US" sz="1200" b="1" i="0" kern="1200" dirty="0">
            <a:solidFill>
              <a:srgbClr val="FFE600"/>
            </a:solidFill>
            <a:latin typeface="+mn-lt"/>
          </a:endParaRPr>
        </a:p>
      </dsp:txBody>
      <dsp:txXfrm>
        <a:off x="3653175" y="1781120"/>
        <a:ext cx="1685736" cy="572085"/>
      </dsp:txXfrm>
    </dsp:sp>
    <dsp:sp modelId="{4EB92D3F-34EA-4916-8DC8-A1D7A2DEFB79}">
      <dsp:nvSpPr>
        <dsp:cNvPr id="0" name=""/>
        <dsp:cNvSpPr/>
      </dsp:nvSpPr>
      <dsp:spPr>
        <a:xfrm>
          <a:off x="1931291" y="2354010"/>
          <a:ext cx="2044235" cy="2044443"/>
        </a:xfrm>
        <a:prstGeom prst="circularArrow">
          <a:avLst>
            <a:gd name="adj1" fmla="val 10980"/>
            <a:gd name="adj2" fmla="val 1142322"/>
            <a:gd name="adj3" fmla="val 4500000"/>
            <a:gd name="adj4" fmla="val 13500000"/>
            <a:gd name="adj5" fmla="val 12500"/>
          </a:avLst>
        </a:prstGeom>
        <a:noFill/>
        <a:ln w="25400" cap="flat" cmpd="sng" algn="ctr">
          <a:solidFill>
            <a:srgbClr val="FFE6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2B9073C-11FB-44A0-A2E0-4DF28FF17EFD}">
      <dsp:nvSpPr>
        <dsp:cNvPr id="0" name=""/>
        <dsp:cNvSpPr/>
      </dsp:nvSpPr>
      <dsp:spPr>
        <a:xfrm>
          <a:off x="427273" y="3076625"/>
          <a:ext cx="1340598" cy="5703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o-RO" sz="1200" b="1" i="0" kern="1200" dirty="0">
              <a:solidFill>
                <a:prstClr val="white"/>
              </a:solidFill>
              <a:latin typeface="EYInterstate Light"/>
              <a:ea typeface="+mn-ea"/>
              <a:cs typeface="+mn-cs"/>
            </a:rPr>
            <a:t>Colectarea valorilor </a:t>
          </a:r>
          <a:r>
            <a:rPr lang="ro-RO" sz="1200" b="1" i="1" kern="1200" dirty="0" err="1">
              <a:solidFill>
                <a:prstClr val="white"/>
              </a:solidFill>
              <a:latin typeface="EYInterstate Light"/>
              <a:ea typeface="+mn-ea"/>
              <a:cs typeface="+mn-cs"/>
            </a:rPr>
            <a:t>baseline</a:t>
          </a:r>
          <a:r>
            <a:rPr lang="ro-RO" sz="1200" b="1" i="0" kern="1200" dirty="0">
              <a:solidFill>
                <a:prstClr val="white"/>
              </a:solidFill>
              <a:latin typeface="EYInterstate Light"/>
              <a:ea typeface="+mn-ea"/>
              <a:cs typeface="+mn-cs"/>
            </a:rPr>
            <a:t> prin transmiterea de adrese către instituțiile publice care administrează evenimentele de viață</a:t>
          </a:r>
          <a:endParaRPr lang="en-US" sz="1200" b="1" i="0" kern="1200" dirty="0">
            <a:solidFill>
              <a:prstClr val="white"/>
            </a:solidFill>
            <a:latin typeface="EYInterstate Light"/>
            <a:ea typeface="+mn-ea"/>
            <a:cs typeface="+mn-cs"/>
          </a:endParaRPr>
        </a:p>
      </dsp:txBody>
      <dsp:txXfrm>
        <a:off x="427273" y="3076625"/>
        <a:ext cx="1340598" cy="570340"/>
      </dsp:txXfrm>
    </dsp:sp>
    <dsp:sp modelId="{47B6DC0D-4872-4B1B-8372-77897DDF100D}">
      <dsp:nvSpPr>
        <dsp:cNvPr id="0" name=""/>
        <dsp:cNvSpPr/>
      </dsp:nvSpPr>
      <dsp:spPr>
        <a:xfrm>
          <a:off x="1509100" y="3664384"/>
          <a:ext cx="1756255" cy="1757104"/>
        </a:xfrm>
        <a:prstGeom prst="blockArc">
          <a:avLst>
            <a:gd name="adj1" fmla="val 0"/>
            <a:gd name="adj2" fmla="val 18900000"/>
            <a:gd name="adj3" fmla="val 12740"/>
          </a:avLst>
        </a:prstGeom>
        <a:noFill/>
        <a:ln w="25400" cap="flat" cmpd="sng" algn="ctr">
          <a:solidFill>
            <a:srgbClr val="FFE6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1F47DF0-080B-4274-B831-940AAB3445F4}">
      <dsp:nvSpPr>
        <dsp:cNvPr id="0" name=""/>
        <dsp:cNvSpPr/>
      </dsp:nvSpPr>
      <dsp:spPr>
        <a:xfrm>
          <a:off x="3431737" y="4410383"/>
          <a:ext cx="1629426" cy="5703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o-RO" sz="1200" b="1" i="0" kern="1200" dirty="0">
              <a:solidFill>
                <a:prstClr val="white"/>
              </a:solidFill>
              <a:latin typeface="EYInterstate Light"/>
              <a:ea typeface="+mn-ea"/>
              <a:cs typeface="+mn-cs"/>
            </a:rPr>
            <a:t>Transpunerea datelor în aplicația IT care generează </a:t>
          </a:r>
          <a:r>
            <a:rPr lang="ro-RO" sz="1200" b="1" i="1" kern="1200" dirty="0" err="1">
              <a:solidFill>
                <a:prstClr val="white"/>
              </a:solidFill>
              <a:latin typeface="EYInterstate Light"/>
              <a:ea typeface="+mn-ea"/>
              <a:cs typeface="+mn-cs"/>
            </a:rPr>
            <a:t>dashboard-ul</a:t>
          </a:r>
          <a:r>
            <a:rPr lang="ro-RO" sz="1200" b="1" i="0" kern="1200" dirty="0">
              <a:solidFill>
                <a:prstClr val="white"/>
              </a:solidFill>
              <a:latin typeface="EYInterstate Light"/>
              <a:ea typeface="+mn-ea"/>
              <a:cs typeface="+mn-cs"/>
            </a:rPr>
            <a:t> privind nivelul de digitalizare al evenimentelor de viață </a:t>
          </a:r>
          <a:endParaRPr lang="en-US" sz="1200" b="1" i="0" kern="1200" dirty="0">
            <a:solidFill>
              <a:prstClr val="white"/>
            </a:solidFill>
            <a:latin typeface="EYInterstate Light"/>
            <a:ea typeface="+mn-ea"/>
            <a:cs typeface="+mn-cs"/>
          </a:endParaRPr>
        </a:p>
      </dsp:txBody>
      <dsp:txXfrm>
        <a:off x="3431737" y="4410383"/>
        <a:ext cx="1629426" cy="5703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75A85089-C692-4DEA-AC49-04CF34D4FE14}" type="datetimeFigureOut">
              <a:rPr lang="en-GB" smtClean="0">
                <a:latin typeface="Arial" pitchFamily="34" charset="0"/>
              </a:rPr>
              <a:pPr/>
              <a:t>16/09/2022</a:t>
            </a:fld>
            <a:endParaRPr lang="en-GB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GB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D3A5C721-4BB5-4DB6-AD65-4BA2A62B05B6}" type="slidenum">
              <a:rPr lang="en-GB" smtClean="0">
                <a:latin typeface="Arial" pitchFamily="34" charset="0"/>
              </a:rPr>
              <a:pPr/>
              <a:t>‹#›</a:t>
            </a:fld>
            <a:endParaRPr lang="en-GB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6323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8045EBA9-A28D-4849-BFEA-AA04F6A21B63}" type="datetimeFigureOut">
              <a:rPr lang="en-GB" smtClean="0"/>
              <a:pPr/>
              <a:t>16/09/2022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3700" y="692150"/>
            <a:ext cx="616267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92" tIns="46246" rIns="92492" bIns="46246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5B43D19E-BFDB-4C92-8EDD-32EDDA8F41D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6270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3">
            <a:extLst>
              <a:ext uri="{FF2B5EF4-FFF2-40B4-BE49-F238E27FC236}">
                <a16:creationId xmlns:a16="http://schemas.microsoft.com/office/drawing/2014/main" id="{F30EE4F4-18A1-4E31-824B-66C572D064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5" t="10772" r="2333" b="10847"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 userDrawn="1"/>
        </p:nvSpPr>
        <p:spPr>
          <a:xfrm>
            <a:off x="498115" y="907800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504" y="1954221"/>
            <a:ext cx="4328932" cy="979702"/>
          </a:xfrm>
        </p:spPr>
        <p:txBody>
          <a:bodyPr/>
          <a:lstStyle>
            <a:lvl1pPr>
              <a:defRPr sz="3000" b="0">
                <a:solidFill>
                  <a:schemeClr val="tx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504" y="3046158"/>
            <a:ext cx="4328932" cy="1046323"/>
          </a:xfrm>
        </p:spPr>
        <p:txBody>
          <a:bodyPr/>
          <a:lstStyle>
            <a:lvl1pPr marL="0" indent="0" algn="l">
              <a:spcAft>
                <a:spcPts val="1200"/>
              </a:spcAft>
              <a:buNone/>
              <a:defRPr sz="2000">
                <a:solidFill>
                  <a:schemeClr val="tx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 b="1">
                <a:solidFill>
                  <a:srgbClr val="404040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B29CE9-0AF3-C4AD-F21D-EFBB8BBBEEA3}"/>
              </a:ext>
            </a:extLst>
          </p:cNvPr>
          <p:cNvSpPr>
            <a:spLocks/>
          </p:cNvSpPr>
          <p:nvPr userDrawn="1"/>
        </p:nvSpPr>
        <p:spPr bwMode="auto">
          <a:xfrm>
            <a:off x="10364788" y="4960938"/>
            <a:ext cx="982663" cy="358775"/>
          </a:xfrm>
          <a:custGeom>
            <a:avLst/>
            <a:gdLst>
              <a:gd name="T0" fmla="*/ 2473 w 2473"/>
              <a:gd name="T1" fmla="*/ 0 h 902"/>
              <a:gd name="T2" fmla="*/ 0 w 2473"/>
              <a:gd name="T3" fmla="*/ 902 h 902"/>
              <a:gd name="T4" fmla="*/ 2473 w 2473"/>
              <a:gd name="T5" fmla="*/ 466 h 902"/>
              <a:gd name="T6" fmla="*/ 2473 w 2473"/>
              <a:gd name="T7" fmla="*/ 0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73" h="902">
                <a:moveTo>
                  <a:pt x="2473" y="0"/>
                </a:moveTo>
                <a:lnTo>
                  <a:pt x="0" y="902"/>
                </a:lnTo>
                <a:lnTo>
                  <a:pt x="2473" y="466"/>
                </a:lnTo>
                <a:lnTo>
                  <a:pt x="247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8" name="Freeform 6">
            <a:extLst>
              <a:ext uri="{FF2B5EF4-FFF2-40B4-BE49-F238E27FC236}">
                <a16:creationId xmlns:a16="http://schemas.microsoft.com/office/drawing/2014/main" id="{374B694A-877F-A78A-B5DD-1670021231F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364788" y="5467351"/>
            <a:ext cx="1225550" cy="928688"/>
          </a:xfrm>
          <a:custGeom>
            <a:avLst/>
            <a:gdLst>
              <a:gd name="T0" fmla="*/ 233 w 3088"/>
              <a:gd name="T1" fmla="*/ 1588 h 2339"/>
              <a:gd name="T2" fmla="*/ 253 w 3088"/>
              <a:gd name="T3" fmla="*/ 1795 h 2339"/>
              <a:gd name="T4" fmla="*/ 151 w 3088"/>
              <a:gd name="T5" fmla="*/ 1810 h 2339"/>
              <a:gd name="T6" fmla="*/ 351 w 3088"/>
              <a:gd name="T7" fmla="*/ 1761 h 2339"/>
              <a:gd name="T8" fmla="*/ 416 w 3088"/>
              <a:gd name="T9" fmla="*/ 1857 h 2339"/>
              <a:gd name="T10" fmla="*/ 1140 w 3088"/>
              <a:gd name="T11" fmla="*/ 1652 h 2339"/>
              <a:gd name="T12" fmla="*/ 1216 w 3088"/>
              <a:gd name="T13" fmla="*/ 1738 h 2339"/>
              <a:gd name="T14" fmla="*/ 696 w 3088"/>
              <a:gd name="T15" fmla="*/ 1546 h 2339"/>
              <a:gd name="T16" fmla="*/ 738 w 3088"/>
              <a:gd name="T17" fmla="*/ 1710 h 2339"/>
              <a:gd name="T18" fmla="*/ 860 w 3088"/>
              <a:gd name="T19" fmla="*/ 1854 h 2339"/>
              <a:gd name="T20" fmla="*/ 832 w 3088"/>
              <a:gd name="T21" fmla="*/ 1684 h 2339"/>
              <a:gd name="T22" fmla="*/ 2021 w 3088"/>
              <a:gd name="T23" fmla="*/ 1860 h 2339"/>
              <a:gd name="T24" fmla="*/ 2158 w 3088"/>
              <a:gd name="T25" fmla="*/ 1747 h 2339"/>
              <a:gd name="T26" fmla="*/ 2100 w 3088"/>
              <a:gd name="T27" fmla="*/ 1730 h 2339"/>
              <a:gd name="T28" fmla="*/ 2059 w 3088"/>
              <a:gd name="T29" fmla="*/ 1684 h 2339"/>
              <a:gd name="T30" fmla="*/ 1309 w 3088"/>
              <a:gd name="T31" fmla="*/ 1734 h 2339"/>
              <a:gd name="T32" fmla="*/ 1445 w 3088"/>
              <a:gd name="T33" fmla="*/ 1844 h 2339"/>
              <a:gd name="T34" fmla="*/ 1473 w 3088"/>
              <a:gd name="T35" fmla="*/ 1923 h 2339"/>
              <a:gd name="T36" fmla="*/ 1369 w 3088"/>
              <a:gd name="T37" fmla="*/ 1781 h 2339"/>
              <a:gd name="T38" fmla="*/ 1727 w 3088"/>
              <a:gd name="T39" fmla="*/ 1677 h 2339"/>
              <a:gd name="T40" fmla="*/ 1632 w 3088"/>
              <a:gd name="T41" fmla="*/ 1778 h 2339"/>
              <a:gd name="T42" fmla="*/ 1822 w 3088"/>
              <a:gd name="T43" fmla="*/ 1710 h 2339"/>
              <a:gd name="T44" fmla="*/ 1686 w 3088"/>
              <a:gd name="T45" fmla="*/ 1786 h 2339"/>
              <a:gd name="T46" fmla="*/ 1708 w 3088"/>
              <a:gd name="T47" fmla="*/ 1817 h 2339"/>
              <a:gd name="T48" fmla="*/ 2240 w 3088"/>
              <a:gd name="T49" fmla="*/ 1766 h 2339"/>
              <a:gd name="T50" fmla="*/ 2227 w 3088"/>
              <a:gd name="T51" fmla="*/ 1653 h 2339"/>
              <a:gd name="T52" fmla="*/ 2290 w 3088"/>
              <a:gd name="T53" fmla="*/ 1866 h 2339"/>
              <a:gd name="T54" fmla="*/ 2321 w 3088"/>
              <a:gd name="T55" fmla="*/ 1709 h 2339"/>
              <a:gd name="T56" fmla="*/ 2908 w 3088"/>
              <a:gd name="T57" fmla="*/ 1750 h 2339"/>
              <a:gd name="T58" fmla="*/ 2730 w 3088"/>
              <a:gd name="T59" fmla="*/ 1683 h 2339"/>
              <a:gd name="T60" fmla="*/ 2852 w 3088"/>
              <a:gd name="T61" fmla="*/ 1860 h 2339"/>
              <a:gd name="T62" fmla="*/ 2639 w 3088"/>
              <a:gd name="T63" fmla="*/ 1783 h 2339"/>
              <a:gd name="T64" fmla="*/ 2605 w 3088"/>
              <a:gd name="T65" fmla="*/ 1853 h 2339"/>
              <a:gd name="T66" fmla="*/ 2464 w 3088"/>
              <a:gd name="T67" fmla="*/ 1861 h 2339"/>
              <a:gd name="T68" fmla="*/ 2495 w 3088"/>
              <a:gd name="T69" fmla="*/ 1812 h 2339"/>
              <a:gd name="T70" fmla="*/ 2998 w 3088"/>
              <a:gd name="T71" fmla="*/ 1639 h 2339"/>
              <a:gd name="T72" fmla="*/ 975 w 3088"/>
              <a:gd name="T73" fmla="*/ 1860 h 2339"/>
              <a:gd name="T74" fmla="*/ 2416 w 3088"/>
              <a:gd name="T75" fmla="*/ 2069 h 2339"/>
              <a:gd name="T76" fmla="*/ 2510 w 3088"/>
              <a:gd name="T77" fmla="*/ 2251 h 2339"/>
              <a:gd name="T78" fmla="*/ 2485 w 3088"/>
              <a:gd name="T79" fmla="*/ 2074 h 2339"/>
              <a:gd name="T80" fmla="*/ 627 w 3088"/>
              <a:gd name="T81" fmla="*/ 2078 h 2339"/>
              <a:gd name="T82" fmla="*/ 672 w 3088"/>
              <a:gd name="T83" fmla="*/ 2089 h 2339"/>
              <a:gd name="T84" fmla="*/ 202 w 3088"/>
              <a:gd name="T85" fmla="*/ 2135 h 2339"/>
              <a:gd name="T86" fmla="*/ 310 w 3088"/>
              <a:gd name="T87" fmla="*/ 2174 h 2339"/>
              <a:gd name="T88" fmla="*/ 503 w 3088"/>
              <a:gd name="T89" fmla="*/ 2174 h 2339"/>
              <a:gd name="T90" fmla="*/ 374 w 3088"/>
              <a:gd name="T91" fmla="*/ 2185 h 2339"/>
              <a:gd name="T92" fmla="*/ 439 w 3088"/>
              <a:gd name="T93" fmla="*/ 2185 h 2339"/>
              <a:gd name="T94" fmla="*/ 2197 w 3088"/>
              <a:gd name="T95" fmla="*/ 2040 h 2339"/>
              <a:gd name="T96" fmla="*/ 1597 w 3088"/>
              <a:gd name="T97" fmla="*/ 2027 h 2339"/>
              <a:gd name="T98" fmla="*/ 1937 w 3088"/>
              <a:gd name="T99" fmla="*/ 2047 h 2339"/>
              <a:gd name="T100" fmla="*/ 2002 w 3088"/>
              <a:gd name="T101" fmla="*/ 2254 h 2339"/>
              <a:gd name="T102" fmla="*/ 2061 w 3088"/>
              <a:gd name="T103" fmla="*/ 2041 h 2339"/>
              <a:gd name="T104" fmla="*/ 2002 w 3088"/>
              <a:gd name="T105" fmla="*/ 2073 h 2339"/>
              <a:gd name="T106" fmla="*/ 767 w 3088"/>
              <a:gd name="T107" fmla="*/ 1934 h 2339"/>
              <a:gd name="T108" fmla="*/ 1202 w 3088"/>
              <a:gd name="T109" fmla="*/ 2037 h 2339"/>
              <a:gd name="T110" fmla="*/ 1108 w 3088"/>
              <a:gd name="T111" fmla="*/ 2086 h 2339"/>
              <a:gd name="T112" fmla="*/ 1280 w 3088"/>
              <a:gd name="T113" fmla="*/ 2078 h 2339"/>
              <a:gd name="T114" fmla="*/ 1385 w 3088"/>
              <a:gd name="T115" fmla="*/ 2249 h 2339"/>
              <a:gd name="T116" fmla="*/ 1403 w 3088"/>
              <a:gd name="T117" fmla="*/ 2332 h 2339"/>
              <a:gd name="T118" fmla="*/ 1354 w 3088"/>
              <a:gd name="T119" fmla="*/ 2200 h 2339"/>
              <a:gd name="T120" fmla="*/ 993 w 3088"/>
              <a:gd name="T121" fmla="*/ 2123 h 2339"/>
              <a:gd name="T122" fmla="*/ 397 w 3088"/>
              <a:gd name="T123" fmla="*/ 963 h 2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088" h="2339">
                <a:moveTo>
                  <a:pt x="257" y="1763"/>
                </a:moveTo>
                <a:lnTo>
                  <a:pt x="257" y="1763"/>
                </a:lnTo>
                <a:lnTo>
                  <a:pt x="257" y="1755"/>
                </a:lnTo>
                <a:lnTo>
                  <a:pt x="256" y="1749"/>
                </a:lnTo>
                <a:lnTo>
                  <a:pt x="253" y="1736"/>
                </a:lnTo>
                <a:lnTo>
                  <a:pt x="247" y="1725"/>
                </a:lnTo>
                <a:lnTo>
                  <a:pt x="241" y="1716"/>
                </a:lnTo>
                <a:lnTo>
                  <a:pt x="233" y="1709"/>
                </a:lnTo>
                <a:lnTo>
                  <a:pt x="225" y="1704"/>
                </a:lnTo>
                <a:lnTo>
                  <a:pt x="219" y="1699"/>
                </a:lnTo>
                <a:lnTo>
                  <a:pt x="212" y="1696"/>
                </a:lnTo>
                <a:lnTo>
                  <a:pt x="212" y="1696"/>
                </a:lnTo>
                <a:lnTo>
                  <a:pt x="220" y="1690"/>
                </a:lnTo>
                <a:lnTo>
                  <a:pt x="226" y="1685"/>
                </a:lnTo>
                <a:lnTo>
                  <a:pt x="232" y="1678"/>
                </a:lnTo>
                <a:lnTo>
                  <a:pt x="237" y="1671"/>
                </a:lnTo>
                <a:lnTo>
                  <a:pt x="242" y="1663"/>
                </a:lnTo>
                <a:lnTo>
                  <a:pt x="244" y="1654"/>
                </a:lnTo>
                <a:lnTo>
                  <a:pt x="246" y="1645"/>
                </a:lnTo>
                <a:lnTo>
                  <a:pt x="246" y="1635"/>
                </a:lnTo>
                <a:lnTo>
                  <a:pt x="246" y="1635"/>
                </a:lnTo>
                <a:lnTo>
                  <a:pt x="246" y="1626"/>
                </a:lnTo>
                <a:lnTo>
                  <a:pt x="245" y="1618"/>
                </a:lnTo>
                <a:lnTo>
                  <a:pt x="243" y="1610"/>
                </a:lnTo>
                <a:lnTo>
                  <a:pt x="241" y="1602"/>
                </a:lnTo>
                <a:lnTo>
                  <a:pt x="237" y="1594"/>
                </a:lnTo>
                <a:lnTo>
                  <a:pt x="233" y="1588"/>
                </a:lnTo>
                <a:lnTo>
                  <a:pt x="227" y="1582"/>
                </a:lnTo>
                <a:lnTo>
                  <a:pt x="222" y="1577"/>
                </a:lnTo>
                <a:lnTo>
                  <a:pt x="215" y="1572"/>
                </a:lnTo>
                <a:lnTo>
                  <a:pt x="209" y="1568"/>
                </a:lnTo>
                <a:lnTo>
                  <a:pt x="201" y="1565"/>
                </a:lnTo>
                <a:lnTo>
                  <a:pt x="192" y="1561"/>
                </a:lnTo>
                <a:lnTo>
                  <a:pt x="183" y="1559"/>
                </a:lnTo>
                <a:lnTo>
                  <a:pt x="173" y="1557"/>
                </a:lnTo>
                <a:lnTo>
                  <a:pt x="163" y="1557"/>
                </a:lnTo>
                <a:lnTo>
                  <a:pt x="152" y="1556"/>
                </a:lnTo>
                <a:lnTo>
                  <a:pt x="22" y="1556"/>
                </a:lnTo>
                <a:lnTo>
                  <a:pt x="22" y="1860"/>
                </a:lnTo>
                <a:lnTo>
                  <a:pt x="151" y="1860"/>
                </a:lnTo>
                <a:lnTo>
                  <a:pt x="151" y="1860"/>
                </a:lnTo>
                <a:lnTo>
                  <a:pt x="163" y="1860"/>
                </a:lnTo>
                <a:lnTo>
                  <a:pt x="174" y="1859"/>
                </a:lnTo>
                <a:lnTo>
                  <a:pt x="185" y="1857"/>
                </a:lnTo>
                <a:lnTo>
                  <a:pt x="195" y="1854"/>
                </a:lnTo>
                <a:lnTo>
                  <a:pt x="205" y="1850"/>
                </a:lnTo>
                <a:lnTo>
                  <a:pt x="214" y="1846"/>
                </a:lnTo>
                <a:lnTo>
                  <a:pt x="222" y="1840"/>
                </a:lnTo>
                <a:lnTo>
                  <a:pt x="228" y="1835"/>
                </a:lnTo>
                <a:lnTo>
                  <a:pt x="235" y="1828"/>
                </a:lnTo>
                <a:lnTo>
                  <a:pt x="241" y="1821"/>
                </a:lnTo>
                <a:lnTo>
                  <a:pt x="246" y="1813"/>
                </a:lnTo>
                <a:lnTo>
                  <a:pt x="249" y="1804"/>
                </a:lnTo>
                <a:lnTo>
                  <a:pt x="253" y="1795"/>
                </a:lnTo>
                <a:lnTo>
                  <a:pt x="255" y="1785"/>
                </a:lnTo>
                <a:lnTo>
                  <a:pt x="256" y="1774"/>
                </a:lnTo>
                <a:lnTo>
                  <a:pt x="257" y="1763"/>
                </a:lnTo>
                <a:lnTo>
                  <a:pt x="257" y="1763"/>
                </a:lnTo>
                <a:close/>
                <a:moveTo>
                  <a:pt x="151" y="1810"/>
                </a:moveTo>
                <a:lnTo>
                  <a:pt x="78" y="1810"/>
                </a:lnTo>
                <a:lnTo>
                  <a:pt x="78" y="1722"/>
                </a:lnTo>
                <a:lnTo>
                  <a:pt x="151" y="1722"/>
                </a:lnTo>
                <a:lnTo>
                  <a:pt x="151" y="1722"/>
                </a:lnTo>
                <a:lnTo>
                  <a:pt x="162" y="1723"/>
                </a:lnTo>
                <a:lnTo>
                  <a:pt x="171" y="1725"/>
                </a:lnTo>
                <a:lnTo>
                  <a:pt x="179" y="1728"/>
                </a:lnTo>
                <a:lnTo>
                  <a:pt x="185" y="1733"/>
                </a:lnTo>
                <a:lnTo>
                  <a:pt x="191" y="1739"/>
                </a:lnTo>
                <a:lnTo>
                  <a:pt x="194" y="1747"/>
                </a:lnTo>
                <a:lnTo>
                  <a:pt x="196" y="1755"/>
                </a:lnTo>
                <a:lnTo>
                  <a:pt x="198" y="1765"/>
                </a:lnTo>
                <a:lnTo>
                  <a:pt x="198" y="1765"/>
                </a:lnTo>
                <a:lnTo>
                  <a:pt x="196" y="1775"/>
                </a:lnTo>
                <a:lnTo>
                  <a:pt x="194" y="1784"/>
                </a:lnTo>
                <a:lnTo>
                  <a:pt x="190" y="1792"/>
                </a:lnTo>
                <a:lnTo>
                  <a:pt x="185" y="1797"/>
                </a:lnTo>
                <a:lnTo>
                  <a:pt x="179" y="1803"/>
                </a:lnTo>
                <a:lnTo>
                  <a:pt x="171" y="1806"/>
                </a:lnTo>
                <a:lnTo>
                  <a:pt x="161" y="1808"/>
                </a:lnTo>
                <a:lnTo>
                  <a:pt x="151" y="1810"/>
                </a:lnTo>
                <a:lnTo>
                  <a:pt x="151" y="1810"/>
                </a:lnTo>
                <a:close/>
                <a:moveTo>
                  <a:pt x="150" y="1673"/>
                </a:moveTo>
                <a:lnTo>
                  <a:pt x="78" y="1673"/>
                </a:lnTo>
                <a:lnTo>
                  <a:pt x="78" y="1608"/>
                </a:lnTo>
                <a:lnTo>
                  <a:pt x="148" y="1608"/>
                </a:lnTo>
                <a:lnTo>
                  <a:pt x="148" y="1608"/>
                </a:lnTo>
                <a:lnTo>
                  <a:pt x="157" y="1609"/>
                </a:lnTo>
                <a:lnTo>
                  <a:pt x="166" y="1610"/>
                </a:lnTo>
                <a:lnTo>
                  <a:pt x="172" y="1612"/>
                </a:lnTo>
                <a:lnTo>
                  <a:pt x="178" y="1615"/>
                </a:lnTo>
                <a:lnTo>
                  <a:pt x="182" y="1621"/>
                </a:lnTo>
                <a:lnTo>
                  <a:pt x="185" y="1626"/>
                </a:lnTo>
                <a:lnTo>
                  <a:pt x="187" y="1633"/>
                </a:lnTo>
                <a:lnTo>
                  <a:pt x="188" y="1641"/>
                </a:lnTo>
                <a:lnTo>
                  <a:pt x="188" y="1641"/>
                </a:lnTo>
                <a:lnTo>
                  <a:pt x="188" y="1646"/>
                </a:lnTo>
                <a:lnTo>
                  <a:pt x="187" y="1652"/>
                </a:lnTo>
                <a:lnTo>
                  <a:pt x="184" y="1657"/>
                </a:lnTo>
                <a:lnTo>
                  <a:pt x="181" y="1662"/>
                </a:lnTo>
                <a:lnTo>
                  <a:pt x="175" y="1666"/>
                </a:lnTo>
                <a:lnTo>
                  <a:pt x="169" y="1669"/>
                </a:lnTo>
                <a:lnTo>
                  <a:pt x="161" y="1672"/>
                </a:lnTo>
                <a:lnTo>
                  <a:pt x="150" y="1673"/>
                </a:lnTo>
                <a:lnTo>
                  <a:pt x="150" y="1673"/>
                </a:lnTo>
                <a:close/>
                <a:moveTo>
                  <a:pt x="296" y="1764"/>
                </a:moveTo>
                <a:lnTo>
                  <a:pt x="296" y="1639"/>
                </a:lnTo>
                <a:lnTo>
                  <a:pt x="351" y="1639"/>
                </a:lnTo>
                <a:lnTo>
                  <a:pt x="351" y="1761"/>
                </a:lnTo>
                <a:lnTo>
                  <a:pt x="351" y="1761"/>
                </a:lnTo>
                <a:lnTo>
                  <a:pt x="351" y="1773"/>
                </a:lnTo>
                <a:lnTo>
                  <a:pt x="353" y="1785"/>
                </a:lnTo>
                <a:lnTo>
                  <a:pt x="356" y="1794"/>
                </a:lnTo>
                <a:lnTo>
                  <a:pt x="361" y="1802"/>
                </a:lnTo>
                <a:lnTo>
                  <a:pt x="366" y="1807"/>
                </a:lnTo>
                <a:lnTo>
                  <a:pt x="373" y="1812"/>
                </a:lnTo>
                <a:lnTo>
                  <a:pt x="382" y="1814"/>
                </a:lnTo>
                <a:lnTo>
                  <a:pt x="392" y="1815"/>
                </a:lnTo>
                <a:lnTo>
                  <a:pt x="392" y="1815"/>
                </a:lnTo>
                <a:lnTo>
                  <a:pt x="402" y="1814"/>
                </a:lnTo>
                <a:lnTo>
                  <a:pt x="409" y="1812"/>
                </a:lnTo>
                <a:lnTo>
                  <a:pt x="417" y="1807"/>
                </a:lnTo>
                <a:lnTo>
                  <a:pt x="423" y="1802"/>
                </a:lnTo>
                <a:lnTo>
                  <a:pt x="427" y="1794"/>
                </a:lnTo>
                <a:lnTo>
                  <a:pt x="430" y="1784"/>
                </a:lnTo>
                <a:lnTo>
                  <a:pt x="433" y="1773"/>
                </a:lnTo>
                <a:lnTo>
                  <a:pt x="433" y="1761"/>
                </a:lnTo>
                <a:lnTo>
                  <a:pt x="433" y="1639"/>
                </a:lnTo>
                <a:lnTo>
                  <a:pt x="488" y="1639"/>
                </a:lnTo>
                <a:lnTo>
                  <a:pt x="488" y="1860"/>
                </a:lnTo>
                <a:lnTo>
                  <a:pt x="433" y="1860"/>
                </a:lnTo>
                <a:lnTo>
                  <a:pt x="433" y="1843"/>
                </a:lnTo>
                <a:lnTo>
                  <a:pt x="433" y="1843"/>
                </a:lnTo>
                <a:lnTo>
                  <a:pt x="428" y="1848"/>
                </a:lnTo>
                <a:lnTo>
                  <a:pt x="422" y="1853"/>
                </a:lnTo>
                <a:lnTo>
                  <a:pt x="416" y="1857"/>
                </a:lnTo>
                <a:lnTo>
                  <a:pt x="409" y="1859"/>
                </a:lnTo>
                <a:lnTo>
                  <a:pt x="403" y="1862"/>
                </a:lnTo>
                <a:lnTo>
                  <a:pt x="395" y="1864"/>
                </a:lnTo>
                <a:lnTo>
                  <a:pt x="387" y="1865"/>
                </a:lnTo>
                <a:lnTo>
                  <a:pt x="380" y="1866"/>
                </a:lnTo>
                <a:lnTo>
                  <a:pt x="380" y="1866"/>
                </a:lnTo>
                <a:lnTo>
                  <a:pt x="366" y="1865"/>
                </a:lnTo>
                <a:lnTo>
                  <a:pt x="355" y="1862"/>
                </a:lnTo>
                <a:lnTo>
                  <a:pt x="345" y="1859"/>
                </a:lnTo>
                <a:lnTo>
                  <a:pt x="336" y="1855"/>
                </a:lnTo>
                <a:lnTo>
                  <a:pt x="328" y="1849"/>
                </a:lnTo>
                <a:lnTo>
                  <a:pt x="321" y="1844"/>
                </a:lnTo>
                <a:lnTo>
                  <a:pt x="316" y="1836"/>
                </a:lnTo>
                <a:lnTo>
                  <a:pt x="310" y="1828"/>
                </a:lnTo>
                <a:lnTo>
                  <a:pt x="307" y="1821"/>
                </a:lnTo>
                <a:lnTo>
                  <a:pt x="304" y="1813"/>
                </a:lnTo>
                <a:lnTo>
                  <a:pt x="299" y="1795"/>
                </a:lnTo>
                <a:lnTo>
                  <a:pt x="297" y="1779"/>
                </a:lnTo>
                <a:lnTo>
                  <a:pt x="296" y="1764"/>
                </a:lnTo>
                <a:lnTo>
                  <a:pt x="296" y="1764"/>
                </a:lnTo>
                <a:close/>
                <a:moveTo>
                  <a:pt x="1135" y="1860"/>
                </a:moveTo>
                <a:lnTo>
                  <a:pt x="1079" y="1860"/>
                </a:lnTo>
                <a:lnTo>
                  <a:pt x="1079" y="1639"/>
                </a:lnTo>
                <a:lnTo>
                  <a:pt x="1135" y="1639"/>
                </a:lnTo>
                <a:lnTo>
                  <a:pt x="1135" y="1657"/>
                </a:lnTo>
                <a:lnTo>
                  <a:pt x="1135" y="1657"/>
                </a:lnTo>
                <a:lnTo>
                  <a:pt x="1140" y="1652"/>
                </a:lnTo>
                <a:lnTo>
                  <a:pt x="1146" y="1646"/>
                </a:lnTo>
                <a:lnTo>
                  <a:pt x="1152" y="1643"/>
                </a:lnTo>
                <a:lnTo>
                  <a:pt x="1159" y="1640"/>
                </a:lnTo>
                <a:lnTo>
                  <a:pt x="1167" y="1636"/>
                </a:lnTo>
                <a:lnTo>
                  <a:pt x="1173" y="1635"/>
                </a:lnTo>
                <a:lnTo>
                  <a:pt x="1182" y="1634"/>
                </a:lnTo>
                <a:lnTo>
                  <a:pt x="1190" y="1633"/>
                </a:lnTo>
                <a:lnTo>
                  <a:pt x="1190" y="1633"/>
                </a:lnTo>
                <a:lnTo>
                  <a:pt x="1200" y="1634"/>
                </a:lnTo>
                <a:lnTo>
                  <a:pt x="1208" y="1635"/>
                </a:lnTo>
                <a:lnTo>
                  <a:pt x="1217" y="1637"/>
                </a:lnTo>
                <a:lnTo>
                  <a:pt x="1225" y="1640"/>
                </a:lnTo>
                <a:lnTo>
                  <a:pt x="1233" y="1643"/>
                </a:lnTo>
                <a:lnTo>
                  <a:pt x="1239" y="1648"/>
                </a:lnTo>
                <a:lnTo>
                  <a:pt x="1245" y="1653"/>
                </a:lnTo>
                <a:lnTo>
                  <a:pt x="1250" y="1659"/>
                </a:lnTo>
                <a:lnTo>
                  <a:pt x="1256" y="1666"/>
                </a:lnTo>
                <a:lnTo>
                  <a:pt x="1259" y="1674"/>
                </a:lnTo>
                <a:lnTo>
                  <a:pt x="1264" y="1682"/>
                </a:lnTo>
                <a:lnTo>
                  <a:pt x="1266" y="1690"/>
                </a:lnTo>
                <a:lnTo>
                  <a:pt x="1268" y="1700"/>
                </a:lnTo>
                <a:lnTo>
                  <a:pt x="1270" y="1711"/>
                </a:lnTo>
                <a:lnTo>
                  <a:pt x="1271" y="1722"/>
                </a:lnTo>
                <a:lnTo>
                  <a:pt x="1271" y="1734"/>
                </a:lnTo>
                <a:lnTo>
                  <a:pt x="1271" y="1860"/>
                </a:lnTo>
                <a:lnTo>
                  <a:pt x="1216" y="1860"/>
                </a:lnTo>
                <a:lnTo>
                  <a:pt x="1216" y="1738"/>
                </a:lnTo>
                <a:lnTo>
                  <a:pt x="1216" y="1738"/>
                </a:lnTo>
                <a:lnTo>
                  <a:pt x="1216" y="1725"/>
                </a:lnTo>
                <a:lnTo>
                  <a:pt x="1214" y="1714"/>
                </a:lnTo>
                <a:lnTo>
                  <a:pt x="1211" y="1705"/>
                </a:lnTo>
                <a:lnTo>
                  <a:pt x="1206" y="1697"/>
                </a:lnTo>
                <a:lnTo>
                  <a:pt x="1201" y="1691"/>
                </a:lnTo>
                <a:lnTo>
                  <a:pt x="1194" y="1687"/>
                </a:lnTo>
                <a:lnTo>
                  <a:pt x="1186" y="1685"/>
                </a:lnTo>
                <a:lnTo>
                  <a:pt x="1176" y="1684"/>
                </a:lnTo>
                <a:lnTo>
                  <a:pt x="1176" y="1684"/>
                </a:lnTo>
                <a:lnTo>
                  <a:pt x="1167" y="1685"/>
                </a:lnTo>
                <a:lnTo>
                  <a:pt x="1158" y="1687"/>
                </a:lnTo>
                <a:lnTo>
                  <a:pt x="1151" y="1691"/>
                </a:lnTo>
                <a:lnTo>
                  <a:pt x="1146" y="1697"/>
                </a:lnTo>
                <a:lnTo>
                  <a:pt x="1140" y="1705"/>
                </a:lnTo>
                <a:lnTo>
                  <a:pt x="1137" y="1715"/>
                </a:lnTo>
                <a:lnTo>
                  <a:pt x="1135" y="1726"/>
                </a:lnTo>
                <a:lnTo>
                  <a:pt x="1135" y="1738"/>
                </a:lnTo>
                <a:lnTo>
                  <a:pt x="1135" y="1860"/>
                </a:lnTo>
                <a:close/>
                <a:moveTo>
                  <a:pt x="593" y="1742"/>
                </a:moveTo>
                <a:lnTo>
                  <a:pt x="593" y="1860"/>
                </a:lnTo>
                <a:lnTo>
                  <a:pt x="537" y="1860"/>
                </a:lnTo>
                <a:lnTo>
                  <a:pt x="537" y="1639"/>
                </a:lnTo>
                <a:lnTo>
                  <a:pt x="593" y="1639"/>
                </a:lnTo>
                <a:lnTo>
                  <a:pt x="593" y="1742"/>
                </a:lnTo>
                <a:close/>
                <a:moveTo>
                  <a:pt x="641" y="1573"/>
                </a:moveTo>
                <a:lnTo>
                  <a:pt x="696" y="1546"/>
                </a:lnTo>
                <a:lnTo>
                  <a:pt x="696" y="1747"/>
                </a:lnTo>
                <a:lnTo>
                  <a:pt x="696" y="1860"/>
                </a:lnTo>
                <a:lnTo>
                  <a:pt x="641" y="1860"/>
                </a:lnTo>
                <a:lnTo>
                  <a:pt x="641" y="1573"/>
                </a:lnTo>
                <a:close/>
                <a:moveTo>
                  <a:pt x="871" y="1654"/>
                </a:moveTo>
                <a:lnTo>
                  <a:pt x="871" y="1654"/>
                </a:lnTo>
                <a:lnTo>
                  <a:pt x="866" y="1648"/>
                </a:lnTo>
                <a:lnTo>
                  <a:pt x="861" y="1645"/>
                </a:lnTo>
                <a:lnTo>
                  <a:pt x="854" y="1641"/>
                </a:lnTo>
                <a:lnTo>
                  <a:pt x="849" y="1639"/>
                </a:lnTo>
                <a:lnTo>
                  <a:pt x="842" y="1636"/>
                </a:lnTo>
                <a:lnTo>
                  <a:pt x="835" y="1634"/>
                </a:lnTo>
                <a:lnTo>
                  <a:pt x="822" y="1633"/>
                </a:lnTo>
                <a:lnTo>
                  <a:pt x="822" y="1633"/>
                </a:lnTo>
                <a:lnTo>
                  <a:pt x="812" y="1634"/>
                </a:lnTo>
                <a:lnTo>
                  <a:pt x="802" y="1635"/>
                </a:lnTo>
                <a:lnTo>
                  <a:pt x="794" y="1637"/>
                </a:lnTo>
                <a:lnTo>
                  <a:pt x="786" y="1641"/>
                </a:lnTo>
                <a:lnTo>
                  <a:pt x="778" y="1645"/>
                </a:lnTo>
                <a:lnTo>
                  <a:pt x="770" y="1651"/>
                </a:lnTo>
                <a:lnTo>
                  <a:pt x="764" y="1657"/>
                </a:lnTo>
                <a:lnTo>
                  <a:pt x="758" y="1664"/>
                </a:lnTo>
                <a:lnTo>
                  <a:pt x="753" y="1672"/>
                </a:lnTo>
                <a:lnTo>
                  <a:pt x="748" y="1680"/>
                </a:lnTo>
                <a:lnTo>
                  <a:pt x="744" y="1689"/>
                </a:lnTo>
                <a:lnTo>
                  <a:pt x="741" y="1699"/>
                </a:lnTo>
                <a:lnTo>
                  <a:pt x="738" y="1710"/>
                </a:lnTo>
                <a:lnTo>
                  <a:pt x="736" y="1722"/>
                </a:lnTo>
                <a:lnTo>
                  <a:pt x="735" y="1734"/>
                </a:lnTo>
                <a:lnTo>
                  <a:pt x="735" y="1747"/>
                </a:lnTo>
                <a:lnTo>
                  <a:pt x="735" y="1747"/>
                </a:lnTo>
                <a:lnTo>
                  <a:pt x="735" y="1761"/>
                </a:lnTo>
                <a:lnTo>
                  <a:pt x="736" y="1773"/>
                </a:lnTo>
                <a:lnTo>
                  <a:pt x="738" y="1785"/>
                </a:lnTo>
                <a:lnTo>
                  <a:pt x="741" y="1796"/>
                </a:lnTo>
                <a:lnTo>
                  <a:pt x="744" y="1807"/>
                </a:lnTo>
                <a:lnTo>
                  <a:pt x="747" y="1817"/>
                </a:lnTo>
                <a:lnTo>
                  <a:pt x="752" y="1826"/>
                </a:lnTo>
                <a:lnTo>
                  <a:pt x="757" y="1834"/>
                </a:lnTo>
                <a:lnTo>
                  <a:pt x="764" y="1841"/>
                </a:lnTo>
                <a:lnTo>
                  <a:pt x="769" y="1847"/>
                </a:lnTo>
                <a:lnTo>
                  <a:pt x="777" y="1853"/>
                </a:lnTo>
                <a:lnTo>
                  <a:pt x="785" y="1857"/>
                </a:lnTo>
                <a:lnTo>
                  <a:pt x="792" y="1860"/>
                </a:lnTo>
                <a:lnTo>
                  <a:pt x="801" y="1864"/>
                </a:lnTo>
                <a:lnTo>
                  <a:pt x="811" y="1865"/>
                </a:lnTo>
                <a:lnTo>
                  <a:pt x="821" y="1866"/>
                </a:lnTo>
                <a:lnTo>
                  <a:pt x="821" y="1866"/>
                </a:lnTo>
                <a:lnTo>
                  <a:pt x="828" y="1865"/>
                </a:lnTo>
                <a:lnTo>
                  <a:pt x="834" y="1864"/>
                </a:lnTo>
                <a:lnTo>
                  <a:pt x="841" y="1862"/>
                </a:lnTo>
                <a:lnTo>
                  <a:pt x="848" y="1860"/>
                </a:lnTo>
                <a:lnTo>
                  <a:pt x="853" y="1857"/>
                </a:lnTo>
                <a:lnTo>
                  <a:pt x="860" y="1854"/>
                </a:lnTo>
                <a:lnTo>
                  <a:pt x="865" y="1849"/>
                </a:lnTo>
                <a:lnTo>
                  <a:pt x="871" y="1844"/>
                </a:lnTo>
                <a:lnTo>
                  <a:pt x="871" y="1860"/>
                </a:lnTo>
                <a:lnTo>
                  <a:pt x="926" y="1860"/>
                </a:lnTo>
                <a:lnTo>
                  <a:pt x="926" y="1546"/>
                </a:lnTo>
                <a:lnTo>
                  <a:pt x="871" y="1573"/>
                </a:lnTo>
                <a:lnTo>
                  <a:pt x="871" y="1654"/>
                </a:lnTo>
                <a:close/>
                <a:moveTo>
                  <a:pt x="832" y="1815"/>
                </a:moveTo>
                <a:lnTo>
                  <a:pt x="832" y="1815"/>
                </a:lnTo>
                <a:lnTo>
                  <a:pt x="826" y="1814"/>
                </a:lnTo>
                <a:lnTo>
                  <a:pt x="818" y="1812"/>
                </a:lnTo>
                <a:lnTo>
                  <a:pt x="811" y="1808"/>
                </a:lnTo>
                <a:lnTo>
                  <a:pt x="805" y="1802"/>
                </a:lnTo>
                <a:lnTo>
                  <a:pt x="799" y="1793"/>
                </a:lnTo>
                <a:lnTo>
                  <a:pt x="795" y="1781"/>
                </a:lnTo>
                <a:lnTo>
                  <a:pt x="791" y="1765"/>
                </a:lnTo>
                <a:lnTo>
                  <a:pt x="790" y="1746"/>
                </a:lnTo>
                <a:lnTo>
                  <a:pt x="790" y="1746"/>
                </a:lnTo>
                <a:lnTo>
                  <a:pt x="791" y="1728"/>
                </a:lnTo>
                <a:lnTo>
                  <a:pt x="795" y="1715"/>
                </a:lnTo>
                <a:lnTo>
                  <a:pt x="799" y="1704"/>
                </a:lnTo>
                <a:lnTo>
                  <a:pt x="805" y="1696"/>
                </a:lnTo>
                <a:lnTo>
                  <a:pt x="810" y="1689"/>
                </a:lnTo>
                <a:lnTo>
                  <a:pt x="818" y="1686"/>
                </a:lnTo>
                <a:lnTo>
                  <a:pt x="824" y="1684"/>
                </a:lnTo>
                <a:lnTo>
                  <a:pt x="832" y="1684"/>
                </a:lnTo>
                <a:lnTo>
                  <a:pt x="832" y="1684"/>
                </a:lnTo>
                <a:lnTo>
                  <a:pt x="839" y="1684"/>
                </a:lnTo>
                <a:lnTo>
                  <a:pt x="845" y="1686"/>
                </a:lnTo>
                <a:lnTo>
                  <a:pt x="852" y="1688"/>
                </a:lnTo>
                <a:lnTo>
                  <a:pt x="856" y="1691"/>
                </a:lnTo>
                <a:lnTo>
                  <a:pt x="861" y="1695"/>
                </a:lnTo>
                <a:lnTo>
                  <a:pt x="865" y="1698"/>
                </a:lnTo>
                <a:lnTo>
                  <a:pt x="871" y="1706"/>
                </a:lnTo>
                <a:lnTo>
                  <a:pt x="871" y="1793"/>
                </a:lnTo>
                <a:lnTo>
                  <a:pt x="871" y="1793"/>
                </a:lnTo>
                <a:lnTo>
                  <a:pt x="864" y="1801"/>
                </a:lnTo>
                <a:lnTo>
                  <a:pt x="856" y="1807"/>
                </a:lnTo>
                <a:lnTo>
                  <a:pt x="852" y="1811"/>
                </a:lnTo>
                <a:lnTo>
                  <a:pt x="845" y="1813"/>
                </a:lnTo>
                <a:lnTo>
                  <a:pt x="840" y="1814"/>
                </a:lnTo>
                <a:lnTo>
                  <a:pt x="832" y="1815"/>
                </a:lnTo>
                <a:lnTo>
                  <a:pt x="832" y="1815"/>
                </a:lnTo>
                <a:close/>
                <a:moveTo>
                  <a:pt x="2069" y="1633"/>
                </a:moveTo>
                <a:lnTo>
                  <a:pt x="2069" y="1633"/>
                </a:lnTo>
                <a:lnTo>
                  <a:pt x="2064" y="1634"/>
                </a:lnTo>
                <a:lnTo>
                  <a:pt x="2057" y="1635"/>
                </a:lnTo>
                <a:lnTo>
                  <a:pt x="2044" y="1639"/>
                </a:lnTo>
                <a:lnTo>
                  <a:pt x="2032" y="1645"/>
                </a:lnTo>
                <a:lnTo>
                  <a:pt x="2021" y="1654"/>
                </a:lnTo>
                <a:lnTo>
                  <a:pt x="2021" y="1551"/>
                </a:lnTo>
                <a:lnTo>
                  <a:pt x="1966" y="1579"/>
                </a:lnTo>
                <a:lnTo>
                  <a:pt x="1966" y="1860"/>
                </a:lnTo>
                <a:lnTo>
                  <a:pt x="2021" y="1860"/>
                </a:lnTo>
                <a:lnTo>
                  <a:pt x="2021" y="1844"/>
                </a:lnTo>
                <a:lnTo>
                  <a:pt x="2021" y="1844"/>
                </a:lnTo>
                <a:lnTo>
                  <a:pt x="2025" y="1849"/>
                </a:lnTo>
                <a:lnTo>
                  <a:pt x="2032" y="1854"/>
                </a:lnTo>
                <a:lnTo>
                  <a:pt x="2037" y="1857"/>
                </a:lnTo>
                <a:lnTo>
                  <a:pt x="2044" y="1860"/>
                </a:lnTo>
                <a:lnTo>
                  <a:pt x="2049" y="1862"/>
                </a:lnTo>
                <a:lnTo>
                  <a:pt x="2057" y="1864"/>
                </a:lnTo>
                <a:lnTo>
                  <a:pt x="2064" y="1865"/>
                </a:lnTo>
                <a:lnTo>
                  <a:pt x="2070" y="1866"/>
                </a:lnTo>
                <a:lnTo>
                  <a:pt x="2070" y="1866"/>
                </a:lnTo>
                <a:lnTo>
                  <a:pt x="2080" y="1865"/>
                </a:lnTo>
                <a:lnTo>
                  <a:pt x="2090" y="1864"/>
                </a:lnTo>
                <a:lnTo>
                  <a:pt x="2099" y="1861"/>
                </a:lnTo>
                <a:lnTo>
                  <a:pt x="2108" y="1857"/>
                </a:lnTo>
                <a:lnTo>
                  <a:pt x="2116" y="1853"/>
                </a:lnTo>
                <a:lnTo>
                  <a:pt x="2122" y="1848"/>
                </a:lnTo>
                <a:lnTo>
                  <a:pt x="2129" y="1841"/>
                </a:lnTo>
                <a:lnTo>
                  <a:pt x="2134" y="1835"/>
                </a:lnTo>
                <a:lnTo>
                  <a:pt x="2140" y="1826"/>
                </a:lnTo>
                <a:lnTo>
                  <a:pt x="2144" y="1817"/>
                </a:lnTo>
                <a:lnTo>
                  <a:pt x="2148" y="1807"/>
                </a:lnTo>
                <a:lnTo>
                  <a:pt x="2151" y="1797"/>
                </a:lnTo>
                <a:lnTo>
                  <a:pt x="2154" y="1786"/>
                </a:lnTo>
                <a:lnTo>
                  <a:pt x="2155" y="1774"/>
                </a:lnTo>
                <a:lnTo>
                  <a:pt x="2157" y="1761"/>
                </a:lnTo>
                <a:lnTo>
                  <a:pt x="2158" y="1747"/>
                </a:lnTo>
                <a:lnTo>
                  <a:pt x="2158" y="1747"/>
                </a:lnTo>
                <a:lnTo>
                  <a:pt x="2157" y="1734"/>
                </a:lnTo>
                <a:lnTo>
                  <a:pt x="2155" y="1722"/>
                </a:lnTo>
                <a:lnTo>
                  <a:pt x="2153" y="1710"/>
                </a:lnTo>
                <a:lnTo>
                  <a:pt x="2151" y="1699"/>
                </a:lnTo>
                <a:lnTo>
                  <a:pt x="2148" y="1689"/>
                </a:lnTo>
                <a:lnTo>
                  <a:pt x="2143" y="1680"/>
                </a:lnTo>
                <a:lnTo>
                  <a:pt x="2139" y="1672"/>
                </a:lnTo>
                <a:lnTo>
                  <a:pt x="2133" y="1664"/>
                </a:lnTo>
                <a:lnTo>
                  <a:pt x="2128" y="1657"/>
                </a:lnTo>
                <a:lnTo>
                  <a:pt x="2121" y="1651"/>
                </a:lnTo>
                <a:lnTo>
                  <a:pt x="2113" y="1645"/>
                </a:lnTo>
                <a:lnTo>
                  <a:pt x="2106" y="1641"/>
                </a:lnTo>
                <a:lnTo>
                  <a:pt x="2098" y="1637"/>
                </a:lnTo>
                <a:lnTo>
                  <a:pt x="2089" y="1635"/>
                </a:lnTo>
                <a:lnTo>
                  <a:pt x="2079" y="1634"/>
                </a:lnTo>
                <a:lnTo>
                  <a:pt x="2069" y="1633"/>
                </a:lnTo>
                <a:lnTo>
                  <a:pt x="2069" y="1633"/>
                </a:lnTo>
                <a:close/>
                <a:moveTo>
                  <a:pt x="2059" y="1684"/>
                </a:moveTo>
                <a:lnTo>
                  <a:pt x="2059" y="1684"/>
                </a:lnTo>
                <a:lnTo>
                  <a:pt x="2067" y="1685"/>
                </a:lnTo>
                <a:lnTo>
                  <a:pt x="2075" y="1687"/>
                </a:lnTo>
                <a:lnTo>
                  <a:pt x="2081" y="1691"/>
                </a:lnTo>
                <a:lnTo>
                  <a:pt x="2088" y="1698"/>
                </a:lnTo>
                <a:lnTo>
                  <a:pt x="2094" y="1706"/>
                </a:lnTo>
                <a:lnTo>
                  <a:pt x="2097" y="1717"/>
                </a:lnTo>
                <a:lnTo>
                  <a:pt x="2100" y="1730"/>
                </a:lnTo>
                <a:lnTo>
                  <a:pt x="2101" y="1746"/>
                </a:lnTo>
                <a:lnTo>
                  <a:pt x="2101" y="1746"/>
                </a:lnTo>
                <a:lnTo>
                  <a:pt x="2100" y="1762"/>
                </a:lnTo>
                <a:lnTo>
                  <a:pt x="2098" y="1776"/>
                </a:lnTo>
                <a:lnTo>
                  <a:pt x="2096" y="1787"/>
                </a:lnTo>
                <a:lnTo>
                  <a:pt x="2091" y="1797"/>
                </a:lnTo>
                <a:lnTo>
                  <a:pt x="2085" y="1805"/>
                </a:lnTo>
                <a:lnTo>
                  <a:pt x="2078" y="1811"/>
                </a:lnTo>
                <a:lnTo>
                  <a:pt x="2070" y="1814"/>
                </a:lnTo>
                <a:lnTo>
                  <a:pt x="2061" y="1815"/>
                </a:lnTo>
                <a:lnTo>
                  <a:pt x="2061" y="1815"/>
                </a:lnTo>
                <a:lnTo>
                  <a:pt x="2053" y="1814"/>
                </a:lnTo>
                <a:lnTo>
                  <a:pt x="2046" y="1813"/>
                </a:lnTo>
                <a:lnTo>
                  <a:pt x="2041" y="1810"/>
                </a:lnTo>
                <a:lnTo>
                  <a:pt x="2035" y="1807"/>
                </a:lnTo>
                <a:lnTo>
                  <a:pt x="2026" y="1800"/>
                </a:lnTo>
                <a:lnTo>
                  <a:pt x="2021" y="1794"/>
                </a:lnTo>
                <a:lnTo>
                  <a:pt x="2021" y="1706"/>
                </a:lnTo>
                <a:lnTo>
                  <a:pt x="2021" y="1706"/>
                </a:lnTo>
                <a:lnTo>
                  <a:pt x="2024" y="1701"/>
                </a:lnTo>
                <a:lnTo>
                  <a:pt x="2029" y="1697"/>
                </a:lnTo>
                <a:lnTo>
                  <a:pt x="2033" y="1693"/>
                </a:lnTo>
                <a:lnTo>
                  <a:pt x="2037" y="1689"/>
                </a:lnTo>
                <a:lnTo>
                  <a:pt x="2043" y="1687"/>
                </a:lnTo>
                <a:lnTo>
                  <a:pt x="2048" y="1685"/>
                </a:lnTo>
                <a:lnTo>
                  <a:pt x="2054" y="1684"/>
                </a:lnTo>
                <a:lnTo>
                  <a:pt x="2059" y="1684"/>
                </a:lnTo>
                <a:lnTo>
                  <a:pt x="2059" y="1684"/>
                </a:lnTo>
                <a:close/>
                <a:moveTo>
                  <a:pt x="1445" y="1654"/>
                </a:moveTo>
                <a:lnTo>
                  <a:pt x="1445" y="1654"/>
                </a:lnTo>
                <a:lnTo>
                  <a:pt x="1440" y="1650"/>
                </a:lnTo>
                <a:lnTo>
                  <a:pt x="1435" y="1645"/>
                </a:lnTo>
                <a:lnTo>
                  <a:pt x="1428" y="1642"/>
                </a:lnTo>
                <a:lnTo>
                  <a:pt x="1423" y="1639"/>
                </a:lnTo>
                <a:lnTo>
                  <a:pt x="1416" y="1636"/>
                </a:lnTo>
                <a:lnTo>
                  <a:pt x="1409" y="1634"/>
                </a:lnTo>
                <a:lnTo>
                  <a:pt x="1403" y="1634"/>
                </a:lnTo>
                <a:lnTo>
                  <a:pt x="1396" y="1633"/>
                </a:lnTo>
                <a:lnTo>
                  <a:pt x="1396" y="1633"/>
                </a:lnTo>
                <a:lnTo>
                  <a:pt x="1386" y="1634"/>
                </a:lnTo>
                <a:lnTo>
                  <a:pt x="1376" y="1635"/>
                </a:lnTo>
                <a:lnTo>
                  <a:pt x="1367" y="1637"/>
                </a:lnTo>
                <a:lnTo>
                  <a:pt x="1360" y="1641"/>
                </a:lnTo>
                <a:lnTo>
                  <a:pt x="1352" y="1645"/>
                </a:lnTo>
                <a:lnTo>
                  <a:pt x="1344" y="1651"/>
                </a:lnTo>
                <a:lnTo>
                  <a:pt x="1338" y="1657"/>
                </a:lnTo>
                <a:lnTo>
                  <a:pt x="1332" y="1664"/>
                </a:lnTo>
                <a:lnTo>
                  <a:pt x="1327" y="1672"/>
                </a:lnTo>
                <a:lnTo>
                  <a:pt x="1322" y="1680"/>
                </a:lnTo>
                <a:lnTo>
                  <a:pt x="1318" y="1689"/>
                </a:lnTo>
                <a:lnTo>
                  <a:pt x="1314" y="1699"/>
                </a:lnTo>
                <a:lnTo>
                  <a:pt x="1312" y="1710"/>
                </a:lnTo>
                <a:lnTo>
                  <a:pt x="1310" y="1722"/>
                </a:lnTo>
                <a:lnTo>
                  <a:pt x="1309" y="1734"/>
                </a:lnTo>
                <a:lnTo>
                  <a:pt x="1309" y="1747"/>
                </a:lnTo>
                <a:lnTo>
                  <a:pt x="1309" y="1747"/>
                </a:lnTo>
                <a:lnTo>
                  <a:pt x="1309" y="1761"/>
                </a:lnTo>
                <a:lnTo>
                  <a:pt x="1310" y="1773"/>
                </a:lnTo>
                <a:lnTo>
                  <a:pt x="1312" y="1785"/>
                </a:lnTo>
                <a:lnTo>
                  <a:pt x="1314" y="1796"/>
                </a:lnTo>
                <a:lnTo>
                  <a:pt x="1318" y="1807"/>
                </a:lnTo>
                <a:lnTo>
                  <a:pt x="1321" y="1817"/>
                </a:lnTo>
                <a:lnTo>
                  <a:pt x="1327" y="1826"/>
                </a:lnTo>
                <a:lnTo>
                  <a:pt x="1331" y="1834"/>
                </a:lnTo>
                <a:lnTo>
                  <a:pt x="1338" y="1841"/>
                </a:lnTo>
                <a:lnTo>
                  <a:pt x="1343" y="1847"/>
                </a:lnTo>
                <a:lnTo>
                  <a:pt x="1351" y="1853"/>
                </a:lnTo>
                <a:lnTo>
                  <a:pt x="1359" y="1857"/>
                </a:lnTo>
                <a:lnTo>
                  <a:pt x="1366" y="1860"/>
                </a:lnTo>
                <a:lnTo>
                  <a:pt x="1375" y="1864"/>
                </a:lnTo>
                <a:lnTo>
                  <a:pt x="1385" y="1865"/>
                </a:lnTo>
                <a:lnTo>
                  <a:pt x="1395" y="1865"/>
                </a:lnTo>
                <a:lnTo>
                  <a:pt x="1395" y="1865"/>
                </a:lnTo>
                <a:lnTo>
                  <a:pt x="1402" y="1865"/>
                </a:lnTo>
                <a:lnTo>
                  <a:pt x="1408" y="1864"/>
                </a:lnTo>
                <a:lnTo>
                  <a:pt x="1415" y="1862"/>
                </a:lnTo>
                <a:lnTo>
                  <a:pt x="1421" y="1860"/>
                </a:lnTo>
                <a:lnTo>
                  <a:pt x="1428" y="1857"/>
                </a:lnTo>
                <a:lnTo>
                  <a:pt x="1434" y="1853"/>
                </a:lnTo>
                <a:lnTo>
                  <a:pt x="1439" y="1849"/>
                </a:lnTo>
                <a:lnTo>
                  <a:pt x="1445" y="1844"/>
                </a:lnTo>
                <a:lnTo>
                  <a:pt x="1445" y="1849"/>
                </a:lnTo>
                <a:lnTo>
                  <a:pt x="1445" y="1849"/>
                </a:lnTo>
                <a:lnTo>
                  <a:pt x="1445" y="1858"/>
                </a:lnTo>
                <a:lnTo>
                  <a:pt x="1444" y="1868"/>
                </a:lnTo>
                <a:lnTo>
                  <a:pt x="1441" y="1878"/>
                </a:lnTo>
                <a:lnTo>
                  <a:pt x="1439" y="1882"/>
                </a:lnTo>
                <a:lnTo>
                  <a:pt x="1436" y="1887"/>
                </a:lnTo>
                <a:lnTo>
                  <a:pt x="1433" y="1891"/>
                </a:lnTo>
                <a:lnTo>
                  <a:pt x="1428" y="1896"/>
                </a:lnTo>
                <a:lnTo>
                  <a:pt x="1421" y="1899"/>
                </a:lnTo>
                <a:lnTo>
                  <a:pt x="1415" y="1901"/>
                </a:lnTo>
                <a:lnTo>
                  <a:pt x="1407" y="1904"/>
                </a:lnTo>
                <a:lnTo>
                  <a:pt x="1397" y="1905"/>
                </a:lnTo>
                <a:lnTo>
                  <a:pt x="1386" y="1908"/>
                </a:lnTo>
                <a:lnTo>
                  <a:pt x="1374" y="1908"/>
                </a:lnTo>
                <a:lnTo>
                  <a:pt x="1372" y="1908"/>
                </a:lnTo>
                <a:lnTo>
                  <a:pt x="1391" y="1951"/>
                </a:lnTo>
                <a:lnTo>
                  <a:pt x="1392" y="1951"/>
                </a:lnTo>
                <a:lnTo>
                  <a:pt x="1392" y="1951"/>
                </a:lnTo>
                <a:lnTo>
                  <a:pt x="1405" y="1951"/>
                </a:lnTo>
                <a:lnTo>
                  <a:pt x="1417" y="1948"/>
                </a:lnTo>
                <a:lnTo>
                  <a:pt x="1429" y="1946"/>
                </a:lnTo>
                <a:lnTo>
                  <a:pt x="1439" y="1943"/>
                </a:lnTo>
                <a:lnTo>
                  <a:pt x="1449" y="1940"/>
                </a:lnTo>
                <a:lnTo>
                  <a:pt x="1458" y="1935"/>
                </a:lnTo>
                <a:lnTo>
                  <a:pt x="1466" y="1929"/>
                </a:lnTo>
                <a:lnTo>
                  <a:pt x="1473" y="1923"/>
                </a:lnTo>
                <a:lnTo>
                  <a:pt x="1480" y="1915"/>
                </a:lnTo>
                <a:lnTo>
                  <a:pt x="1484" y="1907"/>
                </a:lnTo>
                <a:lnTo>
                  <a:pt x="1490" y="1898"/>
                </a:lnTo>
                <a:lnTo>
                  <a:pt x="1493" y="1888"/>
                </a:lnTo>
                <a:lnTo>
                  <a:pt x="1497" y="1877"/>
                </a:lnTo>
                <a:lnTo>
                  <a:pt x="1499" y="1866"/>
                </a:lnTo>
                <a:lnTo>
                  <a:pt x="1500" y="1854"/>
                </a:lnTo>
                <a:lnTo>
                  <a:pt x="1500" y="1839"/>
                </a:lnTo>
                <a:lnTo>
                  <a:pt x="1500" y="1639"/>
                </a:lnTo>
                <a:lnTo>
                  <a:pt x="1445" y="1639"/>
                </a:lnTo>
                <a:lnTo>
                  <a:pt x="1445" y="1654"/>
                </a:lnTo>
                <a:close/>
                <a:moveTo>
                  <a:pt x="1445" y="1706"/>
                </a:moveTo>
                <a:lnTo>
                  <a:pt x="1445" y="1793"/>
                </a:lnTo>
                <a:lnTo>
                  <a:pt x="1445" y="1793"/>
                </a:lnTo>
                <a:lnTo>
                  <a:pt x="1438" y="1801"/>
                </a:lnTo>
                <a:lnTo>
                  <a:pt x="1429" y="1808"/>
                </a:lnTo>
                <a:lnTo>
                  <a:pt x="1425" y="1811"/>
                </a:lnTo>
                <a:lnTo>
                  <a:pt x="1419" y="1813"/>
                </a:lnTo>
                <a:lnTo>
                  <a:pt x="1413" y="1814"/>
                </a:lnTo>
                <a:lnTo>
                  <a:pt x="1406" y="1815"/>
                </a:lnTo>
                <a:lnTo>
                  <a:pt x="1406" y="1815"/>
                </a:lnTo>
                <a:lnTo>
                  <a:pt x="1398" y="1814"/>
                </a:lnTo>
                <a:lnTo>
                  <a:pt x="1392" y="1812"/>
                </a:lnTo>
                <a:lnTo>
                  <a:pt x="1384" y="1807"/>
                </a:lnTo>
                <a:lnTo>
                  <a:pt x="1378" y="1802"/>
                </a:lnTo>
                <a:lnTo>
                  <a:pt x="1373" y="1793"/>
                </a:lnTo>
                <a:lnTo>
                  <a:pt x="1369" y="1781"/>
                </a:lnTo>
                <a:lnTo>
                  <a:pt x="1365" y="1765"/>
                </a:lnTo>
                <a:lnTo>
                  <a:pt x="1364" y="1746"/>
                </a:lnTo>
                <a:lnTo>
                  <a:pt x="1364" y="1746"/>
                </a:lnTo>
                <a:lnTo>
                  <a:pt x="1365" y="1728"/>
                </a:lnTo>
                <a:lnTo>
                  <a:pt x="1369" y="1715"/>
                </a:lnTo>
                <a:lnTo>
                  <a:pt x="1373" y="1704"/>
                </a:lnTo>
                <a:lnTo>
                  <a:pt x="1378" y="1696"/>
                </a:lnTo>
                <a:lnTo>
                  <a:pt x="1384" y="1689"/>
                </a:lnTo>
                <a:lnTo>
                  <a:pt x="1392" y="1686"/>
                </a:lnTo>
                <a:lnTo>
                  <a:pt x="1398" y="1684"/>
                </a:lnTo>
                <a:lnTo>
                  <a:pt x="1406" y="1684"/>
                </a:lnTo>
                <a:lnTo>
                  <a:pt x="1406" y="1684"/>
                </a:lnTo>
                <a:lnTo>
                  <a:pt x="1413" y="1684"/>
                </a:lnTo>
                <a:lnTo>
                  <a:pt x="1419" y="1686"/>
                </a:lnTo>
                <a:lnTo>
                  <a:pt x="1426" y="1688"/>
                </a:lnTo>
                <a:lnTo>
                  <a:pt x="1430" y="1690"/>
                </a:lnTo>
                <a:lnTo>
                  <a:pt x="1435" y="1695"/>
                </a:lnTo>
                <a:lnTo>
                  <a:pt x="1439" y="1698"/>
                </a:lnTo>
                <a:lnTo>
                  <a:pt x="1445" y="1706"/>
                </a:lnTo>
                <a:lnTo>
                  <a:pt x="1445" y="1706"/>
                </a:lnTo>
                <a:close/>
                <a:moveTo>
                  <a:pt x="1671" y="1693"/>
                </a:moveTo>
                <a:lnTo>
                  <a:pt x="1671" y="1693"/>
                </a:lnTo>
                <a:lnTo>
                  <a:pt x="1684" y="1686"/>
                </a:lnTo>
                <a:lnTo>
                  <a:pt x="1697" y="1682"/>
                </a:lnTo>
                <a:lnTo>
                  <a:pt x="1712" y="1678"/>
                </a:lnTo>
                <a:lnTo>
                  <a:pt x="1727" y="1677"/>
                </a:lnTo>
                <a:lnTo>
                  <a:pt x="1727" y="1677"/>
                </a:lnTo>
                <a:lnTo>
                  <a:pt x="1737" y="1678"/>
                </a:lnTo>
                <a:lnTo>
                  <a:pt x="1745" y="1679"/>
                </a:lnTo>
                <a:lnTo>
                  <a:pt x="1751" y="1682"/>
                </a:lnTo>
                <a:lnTo>
                  <a:pt x="1757" y="1686"/>
                </a:lnTo>
                <a:lnTo>
                  <a:pt x="1761" y="1690"/>
                </a:lnTo>
                <a:lnTo>
                  <a:pt x="1765" y="1696"/>
                </a:lnTo>
                <a:lnTo>
                  <a:pt x="1767" y="1701"/>
                </a:lnTo>
                <a:lnTo>
                  <a:pt x="1767" y="1709"/>
                </a:lnTo>
                <a:lnTo>
                  <a:pt x="1767" y="1725"/>
                </a:lnTo>
                <a:lnTo>
                  <a:pt x="1767" y="1725"/>
                </a:lnTo>
                <a:lnTo>
                  <a:pt x="1757" y="1720"/>
                </a:lnTo>
                <a:lnTo>
                  <a:pt x="1745" y="1717"/>
                </a:lnTo>
                <a:lnTo>
                  <a:pt x="1733" y="1715"/>
                </a:lnTo>
                <a:lnTo>
                  <a:pt x="1719" y="1714"/>
                </a:lnTo>
                <a:lnTo>
                  <a:pt x="1719" y="1714"/>
                </a:lnTo>
                <a:lnTo>
                  <a:pt x="1704" y="1715"/>
                </a:lnTo>
                <a:lnTo>
                  <a:pt x="1689" y="1718"/>
                </a:lnTo>
                <a:lnTo>
                  <a:pt x="1674" y="1722"/>
                </a:lnTo>
                <a:lnTo>
                  <a:pt x="1667" y="1726"/>
                </a:lnTo>
                <a:lnTo>
                  <a:pt x="1660" y="1730"/>
                </a:lnTo>
                <a:lnTo>
                  <a:pt x="1654" y="1734"/>
                </a:lnTo>
                <a:lnTo>
                  <a:pt x="1649" y="1740"/>
                </a:lnTo>
                <a:lnTo>
                  <a:pt x="1643" y="1746"/>
                </a:lnTo>
                <a:lnTo>
                  <a:pt x="1639" y="1752"/>
                </a:lnTo>
                <a:lnTo>
                  <a:pt x="1636" y="1760"/>
                </a:lnTo>
                <a:lnTo>
                  <a:pt x="1633" y="1769"/>
                </a:lnTo>
                <a:lnTo>
                  <a:pt x="1632" y="1778"/>
                </a:lnTo>
                <a:lnTo>
                  <a:pt x="1631" y="1786"/>
                </a:lnTo>
                <a:lnTo>
                  <a:pt x="1631" y="1786"/>
                </a:lnTo>
                <a:lnTo>
                  <a:pt x="1632" y="1797"/>
                </a:lnTo>
                <a:lnTo>
                  <a:pt x="1633" y="1807"/>
                </a:lnTo>
                <a:lnTo>
                  <a:pt x="1636" y="1815"/>
                </a:lnTo>
                <a:lnTo>
                  <a:pt x="1639" y="1824"/>
                </a:lnTo>
                <a:lnTo>
                  <a:pt x="1642" y="1830"/>
                </a:lnTo>
                <a:lnTo>
                  <a:pt x="1648" y="1837"/>
                </a:lnTo>
                <a:lnTo>
                  <a:pt x="1652" y="1843"/>
                </a:lnTo>
                <a:lnTo>
                  <a:pt x="1659" y="1848"/>
                </a:lnTo>
                <a:lnTo>
                  <a:pt x="1664" y="1853"/>
                </a:lnTo>
                <a:lnTo>
                  <a:pt x="1671" y="1856"/>
                </a:lnTo>
                <a:lnTo>
                  <a:pt x="1685" y="1861"/>
                </a:lnTo>
                <a:lnTo>
                  <a:pt x="1700" y="1865"/>
                </a:lnTo>
                <a:lnTo>
                  <a:pt x="1714" y="1866"/>
                </a:lnTo>
                <a:lnTo>
                  <a:pt x="1714" y="1866"/>
                </a:lnTo>
                <a:lnTo>
                  <a:pt x="1726" y="1864"/>
                </a:lnTo>
                <a:lnTo>
                  <a:pt x="1734" y="1862"/>
                </a:lnTo>
                <a:lnTo>
                  <a:pt x="1740" y="1860"/>
                </a:lnTo>
                <a:lnTo>
                  <a:pt x="1748" y="1857"/>
                </a:lnTo>
                <a:lnTo>
                  <a:pt x="1755" y="1853"/>
                </a:lnTo>
                <a:lnTo>
                  <a:pt x="1761" y="1848"/>
                </a:lnTo>
                <a:lnTo>
                  <a:pt x="1767" y="1843"/>
                </a:lnTo>
                <a:lnTo>
                  <a:pt x="1767" y="1860"/>
                </a:lnTo>
                <a:lnTo>
                  <a:pt x="1822" y="1860"/>
                </a:lnTo>
                <a:lnTo>
                  <a:pt x="1822" y="1710"/>
                </a:lnTo>
                <a:lnTo>
                  <a:pt x="1822" y="1710"/>
                </a:lnTo>
                <a:lnTo>
                  <a:pt x="1822" y="1701"/>
                </a:lnTo>
                <a:lnTo>
                  <a:pt x="1821" y="1694"/>
                </a:lnTo>
                <a:lnTo>
                  <a:pt x="1819" y="1686"/>
                </a:lnTo>
                <a:lnTo>
                  <a:pt x="1817" y="1678"/>
                </a:lnTo>
                <a:lnTo>
                  <a:pt x="1812" y="1672"/>
                </a:lnTo>
                <a:lnTo>
                  <a:pt x="1809" y="1665"/>
                </a:lnTo>
                <a:lnTo>
                  <a:pt x="1803" y="1659"/>
                </a:lnTo>
                <a:lnTo>
                  <a:pt x="1798" y="1654"/>
                </a:lnTo>
                <a:lnTo>
                  <a:pt x="1792" y="1650"/>
                </a:lnTo>
                <a:lnTo>
                  <a:pt x="1786" y="1645"/>
                </a:lnTo>
                <a:lnTo>
                  <a:pt x="1778" y="1642"/>
                </a:lnTo>
                <a:lnTo>
                  <a:pt x="1770" y="1639"/>
                </a:lnTo>
                <a:lnTo>
                  <a:pt x="1761" y="1636"/>
                </a:lnTo>
                <a:lnTo>
                  <a:pt x="1753" y="1635"/>
                </a:lnTo>
                <a:lnTo>
                  <a:pt x="1743" y="1634"/>
                </a:lnTo>
                <a:lnTo>
                  <a:pt x="1733" y="1633"/>
                </a:lnTo>
                <a:lnTo>
                  <a:pt x="1733" y="1633"/>
                </a:lnTo>
                <a:lnTo>
                  <a:pt x="1721" y="1634"/>
                </a:lnTo>
                <a:lnTo>
                  <a:pt x="1711" y="1634"/>
                </a:lnTo>
                <a:lnTo>
                  <a:pt x="1700" y="1636"/>
                </a:lnTo>
                <a:lnTo>
                  <a:pt x="1689" y="1639"/>
                </a:lnTo>
                <a:lnTo>
                  <a:pt x="1679" y="1642"/>
                </a:lnTo>
                <a:lnTo>
                  <a:pt x="1669" y="1645"/>
                </a:lnTo>
                <a:lnTo>
                  <a:pt x="1659" y="1650"/>
                </a:lnTo>
                <a:lnTo>
                  <a:pt x="1649" y="1655"/>
                </a:lnTo>
                <a:lnTo>
                  <a:pt x="1671" y="1693"/>
                </a:lnTo>
                <a:close/>
                <a:moveTo>
                  <a:pt x="1686" y="1786"/>
                </a:moveTo>
                <a:lnTo>
                  <a:pt x="1686" y="1786"/>
                </a:lnTo>
                <a:lnTo>
                  <a:pt x="1686" y="1780"/>
                </a:lnTo>
                <a:lnTo>
                  <a:pt x="1689" y="1773"/>
                </a:lnTo>
                <a:lnTo>
                  <a:pt x="1692" y="1768"/>
                </a:lnTo>
                <a:lnTo>
                  <a:pt x="1696" y="1763"/>
                </a:lnTo>
                <a:lnTo>
                  <a:pt x="1702" y="1760"/>
                </a:lnTo>
                <a:lnTo>
                  <a:pt x="1708" y="1758"/>
                </a:lnTo>
                <a:lnTo>
                  <a:pt x="1716" y="1755"/>
                </a:lnTo>
                <a:lnTo>
                  <a:pt x="1724" y="1755"/>
                </a:lnTo>
                <a:lnTo>
                  <a:pt x="1724" y="1755"/>
                </a:lnTo>
                <a:lnTo>
                  <a:pt x="1736" y="1755"/>
                </a:lnTo>
                <a:lnTo>
                  <a:pt x="1747" y="1758"/>
                </a:lnTo>
                <a:lnTo>
                  <a:pt x="1757" y="1761"/>
                </a:lnTo>
                <a:lnTo>
                  <a:pt x="1767" y="1766"/>
                </a:lnTo>
                <a:lnTo>
                  <a:pt x="1767" y="1796"/>
                </a:lnTo>
                <a:lnTo>
                  <a:pt x="1767" y="1796"/>
                </a:lnTo>
                <a:lnTo>
                  <a:pt x="1765" y="1801"/>
                </a:lnTo>
                <a:lnTo>
                  <a:pt x="1760" y="1805"/>
                </a:lnTo>
                <a:lnTo>
                  <a:pt x="1756" y="1810"/>
                </a:lnTo>
                <a:lnTo>
                  <a:pt x="1750" y="1813"/>
                </a:lnTo>
                <a:lnTo>
                  <a:pt x="1745" y="1816"/>
                </a:lnTo>
                <a:lnTo>
                  <a:pt x="1738" y="1818"/>
                </a:lnTo>
                <a:lnTo>
                  <a:pt x="1732" y="1819"/>
                </a:lnTo>
                <a:lnTo>
                  <a:pt x="1724" y="1821"/>
                </a:lnTo>
                <a:lnTo>
                  <a:pt x="1724" y="1821"/>
                </a:lnTo>
                <a:lnTo>
                  <a:pt x="1716" y="1819"/>
                </a:lnTo>
                <a:lnTo>
                  <a:pt x="1708" y="1817"/>
                </a:lnTo>
                <a:lnTo>
                  <a:pt x="1702" y="1815"/>
                </a:lnTo>
                <a:lnTo>
                  <a:pt x="1696" y="1811"/>
                </a:lnTo>
                <a:lnTo>
                  <a:pt x="1692" y="1806"/>
                </a:lnTo>
                <a:lnTo>
                  <a:pt x="1689" y="1801"/>
                </a:lnTo>
                <a:lnTo>
                  <a:pt x="1687" y="1794"/>
                </a:lnTo>
                <a:lnTo>
                  <a:pt x="1686" y="1786"/>
                </a:lnTo>
                <a:lnTo>
                  <a:pt x="1686" y="1786"/>
                </a:lnTo>
                <a:close/>
                <a:moveTo>
                  <a:pt x="2333" y="1796"/>
                </a:moveTo>
                <a:lnTo>
                  <a:pt x="2333" y="1796"/>
                </a:lnTo>
                <a:lnTo>
                  <a:pt x="2325" y="1803"/>
                </a:lnTo>
                <a:lnTo>
                  <a:pt x="2315" y="1808"/>
                </a:lnTo>
                <a:lnTo>
                  <a:pt x="2310" y="1811"/>
                </a:lnTo>
                <a:lnTo>
                  <a:pt x="2303" y="1813"/>
                </a:lnTo>
                <a:lnTo>
                  <a:pt x="2297" y="1814"/>
                </a:lnTo>
                <a:lnTo>
                  <a:pt x="2290" y="1815"/>
                </a:lnTo>
                <a:lnTo>
                  <a:pt x="2290" y="1815"/>
                </a:lnTo>
                <a:lnTo>
                  <a:pt x="2285" y="1814"/>
                </a:lnTo>
                <a:lnTo>
                  <a:pt x="2278" y="1814"/>
                </a:lnTo>
                <a:lnTo>
                  <a:pt x="2270" y="1812"/>
                </a:lnTo>
                <a:lnTo>
                  <a:pt x="2261" y="1807"/>
                </a:lnTo>
                <a:lnTo>
                  <a:pt x="2254" y="1802"/>
                </a:lnTo>
                <a:lnTo>
                  <a:pt x="2250" y="1797"/>
                </a:lnTo>
                <a:lnTo>
                  <a:pt x="2247" y="1793"/>
                </a:lnTo>
                <a:lnTo>
                  <a:pt x="2245" y="1787"/>
                </a:lnTo>
                <a:lnTo>
                  <a:pt x="2243" y="1781"/>
                </a:lnTo>
                <a:lnTo>
                  <a:pt x="2242" y="1774"/>
                </a:lnTo>
                <a:lnTo>
                  <a:pt x="2240" y="1766"/>
                </a:lnTo>
                <a:lnTo>
                  <a:pt x="2376" y="1766"/>
                </a:lnTo>
                <a:lnTo>
                  <a:pt x="2376" y="1766"/>
                </a:lnTo>
                <a:lnTo>
                  <a:pt x="2377" y="1750"/>
                </a:lnTo>
                <a:lnTo>
                  <a:pt x="2377" y="1750"/>
                </a:lnTo>
                <a:lnTo>
                  <a:pt x="2377" y="1737"/>
                </a:lnTo>
                <a:lnTo>
                  <a:pt x="2375" y="1725"/>
                </a:lnTo>
                <a:lnTo>
                  <a:pt x="2374" y="1712"/>
                </a:lnTo>
                <a:lnTo>
                  <a:pt x="2371" y="1701"/>
                </a:lnTo>
                <a:lnTo>
                  <a:pt x="2367" y="1691"/>
                </a:lnTo>
                <a:lnTo>
                  <a:pt x="2363" y="1682"/>
                </a:lnTo>
                <a:lnTo>
                  <a:pt x="2357" y="1673"/>
                </a:lnTo>
                <a:lnTo>
                  <a:pt x="2352" y="1665"/>
                </a:lnTo>
                <a:lnTo>
                  <a:pt x="2345" y="1657"/>
                </a:lnTo>
                <a:lnTo>
                  <a:pt x="2339" y="1652"/>
                </a:lnTo>
                <a:lnTo>
                  <a:pt x="2331" y="1646"/>
                </a:lnTo>
                <a:lnTo>
                  <a:pt x="2322" y="1642"/>
                </a:lnTo>
                <a:lnTo>
                  <a:pt x="2313" y="1639"/>
                </a:lnTo>
                <a:lnTo>
                  <a:pt x="2304" y="1635"/>
                </a:lnTo>
                <a:lnTo>
                  <a:pt x="2294" y="1634"/>
                </a:lnTo>
                <a:lnTo>
                  <a:pt x="2283" y="1633"/>
                </a:lnTo>
                <a:lnTo>
                  <a:pt x="2283" y="1633"/>
                </a:lnTo>
                <a:lnTo>
                  <a:pt x="2274" y="1634"/>
                </a:lnTo>
                <a:lnTo>
                  <a:pt x="2264" y="1635"/>
                </a:lnTo>
                <a:lnTo>
                  <a:pt x="2254" y="1639"/>
                </a:lnTo>
                <a:lnTo>
                  <a:pt x="2244" y="1642"/>
                </a:lnTo>
                <a:lnTo>
                  <a:pt x="2235" y="1646"/>
                </a:lnTo>
                <a:lnTo>
                  <a:pt x="2227" y="1653"/>
                </a:lnTo>
                <a:lnTo>
                  <a:pt x="2219" y="1658"/>
                </a:lnTo>
                <a:lnTo>
                  <a:pt x="2213" y="1666"/>
                </a:lnTo>
                <a:lnTo>
                  <a:pt x="2206" y="1674"/>
                </a:lnTo>
                <a:lnTo>
                  <a:pt x="2201" y="1683"/>
                </a:lnTo>
                <a:lnTo>
                  <a:pt x="2196" y="1693"/>
                </a:lnTo>
                <a:lnTo>
                  <a:pt x="2192" y="1703"/>
                </a:lnTo>
                <a:lnTo>
                  <a:pt x="2189" y="1714"/>
                </a:lnTo>
                <a:lnTo>
                  <a:pt x="2186" y="1726"/>
                </a:lnTo>
                <a:lnTo>
                  <a:pt x="2185" y="1737"/>
                </a:lnTo>
                <a:lnTo>
                  <a:pt x="2184" y="1750"/>
                </a:lnTo>
                <a:lnTo>
                  <a:pt x="2184" y="1750"/>
                </a:lnTo>
                <a:lnTo>
                  <a:pt x="2185" y="1762"/>
                </a:lnTo>
                <a:lnTo>
                  <a:pt x="2186" y="1774"/>
                </a:lnTo>
                <a:lnTo>
                  <a:pt x="2189" y="1786"/>
                </a:lnTo>
                <a:lnTo>
                  <a:pt x="2192" y="1797"/>
                </a:lnTo>
                <a:lnTo>
                  <a:pt x="2196" y="1807"/>
                </a:lnTo>
                <a:lnTo>
                  <a:pt x="2201" y="1817"/>
                </a:lnTo>
                <a:lnTo>
                  <a:pt x="2206" y="1826"/>
                </a:lnTo>
                <a:lnTo>
                  <a:pt x="2213" y="1834"/>
                </a:lnTo>
                <a:lnTo>
                  <a:pt x="2221" y="1840"/>
                </a:lnTo>
                <a:lnTo>
                  <a:pt x="2228" y="1847"/>
                </a:lnTo>
                <a:lnTo>
                  <a:pt x="2237" y="1853"/>
                </a:lnTo>
                <a:lnTo>
                  <a:pt x="2246" y="1857"/>
                </a:lnTo>
                <a:lnTo>
                  <a:pt x="2256" y="1860"/>
                </a:lnTo>
                <a:lnTo>
                  <a:pt x="2267" y="1864"/>
                </a:lnTo>
                <a:lnTo>
                  <a:pt x="2278" y="1865"/>
                </a:lnTo>
                <a:lnTo>
                  <a:pt x="2290" y="1866"/>
                </a:lnTo>
                <a:lnTo>
                  <a:pt x="2290" y="1866"/>
                </a:lnTo>
                <a:lnTo>
                  <a:pt x="2301" y="1865"/>
                </a:lnTo>
                <a:lnTo>
                  <a:pt x="2311" y="1864"/>
                </a:lnTo>
                <a:lnTo>
                  <a:pt x="2322" y="1860"/>
                </a:lnTo>
                <a:lnTo>
                  <a:pt x="2332" y="1857"/>
                </a:lnTo>
                <a:lnTo>
                  <a:pt x="2342" y="1851"/>
                </a:lnTo>
                <a:lnTo>
                  <a:pt x="2351" y="1846"/>
                </a:lnTo>
                <a:lnTo>
                  <a:pt x="2360" y="1838"/>
                </a:lnTo>
                <a:lnTo>
                  <a:pt x="2368" y="1830"/>
                </a:lnTo>
                <a:lnTo>
                  <a:pt x="2333" y="1796"/>
                </a:lnTo>
                <a:close/>
                <a:moveTo>
                  <a:pt x="2242" y="1726"/>
                </a:moveTo>
                <a:lnTo>
                  <a:pt x="2242" y="1726"/>
                </a:lnTo>
                <a:lnTo>
                  <a:pt x="2243" y="1716"/>
                </a:lnTo>
                <a:lnTo>
                  <a:pt x="2245" y="1707"/>
                </a:lnTo>
                <a:lnTo>
                  <a:pt x="2248" y="1699"/>
                </a:lnTo>
                <a:lnTo>
                  <a:pt x="2254" y="1693"/>
                </a:lnTo>
                <a:lnTo>
                  <a:pt x="2259" y="1687"/>
                </a:lnTo>
                <a:lnTo>
                  <a:pt x="2266" y="1684"/>
                </a:lnTo>
                <a:lnTo>
                  <a:pt x="2274" y="1680"/>
                </a:lnTo>
                <a:lnTo>
                  <a:pt x="2282" y="1680"/>
                </a:lnTo>
                <a:lnTo>
                  <a:pt x="2282" y="1680"/>
                </a:lnTo>
                <a:lnTo>
                  <a:pt x="2292" y="1682"/>
                </a:lnTo>
                <a:lnTo>
                  <a:pt x="2301" y="1684"/>
                </a:lnTo>
                <a:lnTo>
                  <a:pt x="2308" y="1688"/>
                </a:lnTo>
                <a:lnTo>
                  <a:pt x="2313" y="1695"/>
                </a:lnTo>
                <a:lnTo>
                  <a:pt x="2318" y="1701"/>
                </a:lnTo>
                <a:lnTo>
                  <a:pt x="2321" y="1709"/>
                </a:lnTo>
                <a:lnTo>
                  <a:pt x="2323" y="1718"/>
                </a:lnTo>
                <a:lnTo>
                  <a:pt x="2324" y="1726"/>
                </a:lnTo>
                <a:lnTo>
                  <a:pt x="2242" y="1726"/>
                </a:lnTo>
                <a:close/>
                <a:moveTo>
                  <a:pt x="2864" y="1796"/>
                </a:moveTo>
                <a:lnTo>
                  <a:pt x="2864" y="1796"/>
                </a:lnTo>
                <a:lnTo>
                  <a:pt x="2855" y="1803"/>
                </a:lnTo>
                <a:lnTo>
                  <a:pt x="2846" y="1808"/>
                </a:lnTo>
                <a:lnTo>
                  <a:pt x="2840" y="1811"/>
                </a:lnTo>
                <a:lnTo>
                  <a:pt x="2834" y="1813"/>
                </a:lnTo>
                <a:lnTo>
                  <a:pt x="2828" y="1814"/>
                </a:lnTo>
                <a:lnTo>
                  <a:pt x="2820" y="1815"/>
                </a:lnTo>
                <a:lnTo>
                  <a:pt x="2820" y="1815"/>
                </a:lnTo>
                <a:lnTo>
                  <a:pt x="2814" y="1814"/>
                </a:lnTo>
                <a:lnTo>
                  <a:pt x="2808" y="1814"/>
                </a:lnTo>
                <a:lnTo>
                  <a:pt x="2800" y="1812"/>
                </a:lnTo>
                <a:lnTo>
                  <a:pt x="2792" y="1807"/>
                </a:lnTo>
                <a:lnTo>
                  <a:pt x="2784" y="1802"/>
                </a:lnTo>
                <a:lnTo>
                  <a:pt x="2781" y="1797"/>
                </a:lnTo>
                <a:lnTo>
                  <a:pt x="2778" y="1793"/>
                </a:lnTo>
                <a:lnTo>
                  <a:pt x="2776" y="1787"/>
                </a:lnTo>
                <a:lnTo>
                  <a:pt x="2773" y="1781"/>
                </a:lnTo>
                <a:lnTo>
                  <a:pt x="2771" y="1774"/>
                </a:lnTo>
                <a:lnTo>
                  <a:pt x="2770" y="1766"/>
                </a:lnTo>
                <a:lnTo>
                  <a:pt x="2907" y="1766"/>
                </a:lnTo>
                <a:lnTo>
                  <a:pt x="2907" y="1766"/>
                </a:lnTo>
                <a:lnTo>
                  <a:pt x="2908" y="1750"/>
                </a:lnTo>
                <a:lnTo>
                  <a:pt x="2908" y="1750"/>
                </a:lnTo>
                <a:lnTo>
                  <a:pt x="2907" y="1737"/>
                </a:lnTo>
                <a:lnTo>
                  <a:pt x="2906" y="1725"/>
                </a:lnTo>
                <a:lnTo>
                  <a:pt x="2904" y="1712"/>
                </a:lnTo>
                <a:lnTo>
                  <a:pt x="2901" y="1701"/>
                </a:lnTo>
                <a:lnTo>
                  <a:pt x="2897" y="1691"/>
                </a:lnTo>
                <a:lnTo>
                  <a:pt x="2893" y="1682"/>
                </a:lnTo>
                <a:lnTo>
                  <a:pt x="2888" y="1673"/>
                </a:lnTo>
                <a:lnTo>
                  <a:pt x="2883" y="1665"/>
                </a:lnTo>
                <a:lnTo>
                  <a:pt x="2876" y="1657"/>
                </a:lnTo>
                <a:lnTo>
                  <a:pt x="2868" y="1652"/>
                </a:lnTo>
                <a:lnTo>
                  <a:pt x="2861" y="1646"/>
                </a:lnTo>
                <a:lnTo>
                  <a:pt x="2853" y="1642"/>
                </a:lnTo>
                <a:lnTo>
                  <a:pt x="2844" y="1639"/>
                </a:lnTo>
                <a:lnTo>
                  <a:pt x="2834" y="1635"/>
                </a:lnTo>
                <a:lnTo>
                  <a:pt x="2824" y="1634"/>
                </a:lnTo>
                <a:lnTo>
                  <a:pt x="2814" y="1633"/>
                </a:lnTo>
                <a:lnTo>
                  <a:pt x="2814" y="1633"/>
                </a:lnTo>
                <a:lnTo>
                  <a:pt x="2803" y="1634"/>
                </a:lnTo>
                <a:lnTo>
                  <a:pt x="2793" y="1635"/>
                </a:lnTo>
                <a:lnTo>
                  <a:pt x="2783" y="1639"/>
                </a:lnTo>
                <a:lnTo>
                  <a:pt x="2775" y="1642"/>
                </a:lnTo>
                <a:lnTo>
                  <a:pt x="2766" y="1646"/>
                </a:lnTo>
                <a:lnTo>
                  <a:pt x="2757" y="1653"/>
                </a:lnTo>
                <a:lnTo>
                  <a:pt x="2750" y="1658"/>
                </a:lnTo>
                <a:lnTo>
                  <a:pt x="2743" y="1666"/>
                </a:lnTo>
                <a:lnTo>
                  <a:pt x="2736" y="1674"/>
                </a:lnTo>
                <a:lnTo>
                  <a:pt x="2730" y="1683"/>
                </a:lnTo>
                <a:lnTo>
                  <a:pt x="2726" y="1693"/>
                </a:lnTo>
                <a:lnTo>
                  <a:pt x="2722" y="1703"/>
                </a:lnTo>
                <a:lnTo>
                  <a:pt x="2719" y="1714"/>
                </a:lnTo>
                <a:lnTo>
                  <a:pt x="2716" y="1726"/>
                </a:lnTo>
                <a:lnTo>
                  <a:pt x="2715" y="1737"/>
                </a:lnTo>
                <a:lnTo>
                  <a:pt x="2715" y="1750"/>
                </a:lnTo>
                <a:lnTo>
                  <a:pt x="2715" y="1750"/>
                </a:lnTo>
                <a:lnTo>
                  <a:pt x="2715" y="1762"/>
                </a:lnTo>
                <a:lnTo>
                  <a:pt x="2716" y="1774"/>
                </a:lnTo>
                <a:lnTo>
                  <a:pt x="2718" y="1786"/>
                </a:lnTo>
                <a:lnTo>
                  <a:pt x="2722" y="1797"/>
                </a:lnTo>
                <a:lnTo>
                  <a:pt x="2726" y="1807"/>
                </a:lnTo>
                <a:lnTo>
                  <a:pt x="2732" y="1817"/>
                </a:lnTo>
                <a:lnTo>
                  <a:pt x="2737" y="1826"/>
                </a:lnTo>
                <a:lnTo>
                  <a:pt x="2744" y="1834"/>
                </a:lnTo>
                <a:lnTo>
                  <a:pt x="2750" y="1840"/>
                </a:lnTo>
                <a:lnTo>
                  <a:pt x="2758" y="1847"/>
                </a:lnTo>
                <a:lnTo>
                  <a:pt x="2767" y="1853"/>
                </a:lnTo>
                <a:lnTo>
                  <a:pt x="2777" y="1857"/>
                </a:lnTo>
                <a:lnTo>
                  <a:pt x="2787" y="1860"/>
                </a:lnTo>
                <a:lnTo>
                  <a:pt x="2797" y="1864"/>
                </a:lnTo>
                <a:lnTo>
                  <a:pt x="2809" y="1865"/>
                </a:lnTo>
                <a:lnTo>
                  <a:pt x="2820" y="1866"/>
                </a:lnTo>
                <a:lnTo>
                  <a:pt x="2820" y="1866"/>
                </a:lnTo>
                <a:lnTo>
                  <a:pt x="2831" y="1865"/>
                </a:lnTo>
                <a:lnTo>
                  <a:pt x="2842" y="1864"/>
                </a:lnTo>
                <a:lnTo>
                  <a:pt x="2852" y="1860"/>
                </a:lnTo>
                <a:lnTo>
                  <a:pt x="2862" y="1857"/>
                </a:lnTo>
                <a:lnTo>
                  <a:pt x="2872" y="1851"/>
                </a:lnTo>
                <a:lnTo>
                  <a:pt x="2882" y="1846"/>
                </a:lnTo>
                <a:lnTo>
                  <a:pt x="2890" y="1838"/>
                </a:lnTo>
                <a:lnTo>
                  <a:pt x="2898" y="1830"/>
                </a:lnTo>
                <a:lnTo>
                  <a:pt x="2864" y="1796"/>
                </a:lnTo>
                <a:close/>
                <a:moveTo>
                  <a:pt x="2771" y="1726"/>
                </a:moveTo>
                <a:lnTo>
                  <a:pt x="2771" y="1726"/>
                </a:lnTo>
                <a:lnTo>
                  <a:pt x="2772" y="1716"/>
                </a:lnTo>
                <a:lnTo>
                  <a:pt x="2776" y="1707"/>
                </a:lnTo>
                <a:lnTo>
                  <a:pt x="2779" y="1699"/>
                </a:lnTo>
                <a:lnTo>
                  <a:pt x="2783" y="1693"/>
                </a:lnTo>
                <a:lnTo>
                  <a:pt x="2790" y="1687"/>
                </a:lnTo>
                <a:lnTo>
                  <a:pt x="2797" y="1684"/>
                </a:lnTo>
                <a:lnTo>
                  <a:pt x="2804" y="1680"/>
                </a:lnTo>
                <a:lnTo>
                  <a:pt x="2813" y="1680"/>
                </a:lnTo>
                <a:lnTo>
                  <a:pt x="2813" y="1680"/>
                </a:lnTo>
                <a:lnTo>
                  <a:pt x="2823" y="1682"/>
                </a:lnTo>
                <a:lnTo>
                  <a:pt x="2831" y="1684"/>
                </a:lnTo>
                <a:lnTo>
                  <a:pt x="2839" y="1688"/>
                </a:lnTo>
                <a:lnTo>
                  <a:pt x="2844" y="1695"/>
                </a:lnTo>
                <a:lnTo>
                  <a:pt x="2849" y="1701"/>
                </a:lnTo>
                <a:lnTo>
                  <a:pt x="2852" y="1709"/>
                </a:lnTo>
                <a:lnTo>
                  <a:pt x="2854" y="1718"/>
                </a:lnTo>
                <a:lnTo>
                  <a:pt x="2855" y="1726"/>
                </a:lnTo>
                <a:lnTo>
                  <a:pt x="2771" y="1726"/>
                </a:lnTo>
                <a:close/>
                <a:moveTo>
                  <a:pt x="2639" y="1783"/>
                </a:moveTo>
                <a:lnTo>
                  <a:pt x="2639" y="1783"/>
                </a:lnTo>
                <a:lnTo>
                  <a:pt x="2639" y="1791"/>
                </a:lnTo>
                <a:lnTo>
                  <a:pt x="2640" y="1796"/>
                </a:lnTo>
                <a:lnTo>
                  <a:pt x="2642" y="1802"/>
                </a:lnTo>
                <a:lnTo>
                  <a:pt x="2644" y="1806"/>
                </a:lnTo>
                <a:lnTo>
                  <a:pt x="2648" y="1810"/>
                </a:lnTo>
                <a:lnTo>
                  <a:pt x="2652" y="1812"/>
                </a:lnTo>
                <a:lnTo>
                  <a:pt x="2656" y="1813"/>
                </a:lnTo>
                <a:lnTo>
                  <a:pt x="2663" y="1813"/>
                </a:lnTo>
                <a:lnTo>
                  <a:pt x="2663" y="1813"/>
                </a:lnTo>
                <a:lnTo>
                  <a:pt x="2671" y="1813"/>
                </a:lnTo>
                <a:lnTo>
                  <a:pt x="2680" y="1811"/>
                </a:lnTo>
                <a:lnTo>
                  <a:pt x="2688" y="1807"/>
                </a:lnTo>
                <a:lnTo>
                  <a:pt x="2696" y="1803"/>
                </a:lnTo>
                <a:lnTo>
                  <a:pt x="2690" y="1855"/>
                </a:lnTo>
                <a:lnTo>
                  <a:pt x="2690" y="1855"/>
                </a:lnTo>
                <a:lnTo>
                  <a:pt x="2680" y="1859"/>
                </a:lnTo>
                <a:lnTo>
                  <a:pt x="2668" y="1862"/>
                </a:lnTo>
                <a:lnTo>
                  <a:pt x="2655" y="1865"/>
                </a:lnTo>
                <a:lnTo>
                  <a:pt x="2643" y="1866"/>
                </a:lnTo>
                <a:lnTo>
                  <a:pt x="2643" y="1866"/>
                </a:lnTo>
                <a:lnTo>
                  <a:pt x="2636" y="1865"/>
                </a:lnTo>
                <a:lnTo>
                  <a:pt x="2628" y="1864"/>
                </a:lnTo>
                <a:lnTo>
                  <a:pt x="2621" y="1861"/>
                </a:lnTo>
                <a:lnTo>
                  <a:pt x="2616" y="1859"/>
                </a:lnTo>
                <a:lnTo>
                  <a:pt x="2610" y="1856"/>
                </a:lnTo>
                <a:lnTo>
                  <a:pt x="2605" y="1853"/>
                </a:lnTo>
                <a:lnTo>
                  <a:pt x="2601" y="1848"/>
                </a:lnTo>
                <a:lnTo>
                  <a:pt x="2597" y="1843"/>
                </a:lnTo>
                <a:lnTo>
                  <a:pt x="2591" y="1833"/>
                </a:lnTo>
                <a:lnTo>
                  <a:pt x="2587" y="1821"/>
                </a:lnTo>
                <a:lnTo>
                  <a:pt x="2585" y="1810"/>
                </a:lnTo>
                <a:lnTo>
                  <a:pt x="2584" y="1797"/>
                </a:lnTo>
                <a:lnTo>
                  <a:pt x="2584" y="1689"/>
                </a:lnTo>
                <a:lnTo>
                  <a:pt x="2549" y="1689"/>
                </a:lnTo>
                <a:lnTo>
                  <a:pt x="2549" y="1639"/>
                </a:lnTo>
                <a:lnTo>
                  <a:pt x="2584" y="1639"/>
                </a:lnTo>
                <a:lnTo>
                  <a:pt x="2584" y="1581"/>
                </a:lnTo>
                <a:lnTo>
                  <a:pt x="2639" y="1554"/>
                </a:lnTo>
                <a:lnTo>
                  <a:pt x="2639" y="1639"/>
                </a:lnTo>
                <a:lnTo>
                  <a:pt x="2688" y="1639"/>
                </a:lnTo>
                <a:lnTo>
                  <a:pt x="2688" y="1689"/>
                </a:lnTo>
                <a:lnTo>
                  <a:pt x="2639" y="1689"/>
                </a:lnTo>
                <a:lnTo>
                  <a:pt x="2639" y="1783"/>
                </a:lnTo>
                <a:close/>
                <a:moveTo>
                  <a:pt x="2532" y="1855"/>
                </a:moveTo>
                <a:lnTo>
                  <a:pt x="2532" y="1855"/>
                </a:lnTo>
                <a:lnTo>
                  <a:pt x="2522" y="1859"/>
                </a:lnTo>
                <a:lnTo>
                  <a:pt x="2511" y="1862"/>
                </a:lnTo>
                <a:lnTo>
                  <a:pt x="2499" y="1865"/>
                </a:lnTo>
                <a:lnTo>
                  <a:pt x="2487" y="1866"/>
                </a:lnTo>
                <a:lnTo>
                  <a:pt x="2487" y="1866"/>
                </a:lnTo>
                <a:lnTo>
                  <a:pt x="2478" y="1865"/>
                </a:lnTo>
                <a:lnTo>
                  <a:pt x="2471" y="1864"/>
                </a:lnTo>
                <a:lnTo>
                  <a:pt x="2464" y="1861"/>
                </a:lnTo>
                <a:lnTo>
                  <a:pt x="2458" y="1859"/>
                </a:lnTo>
                <a:lnTo>
                  <a:pt x="2453" y="1856"/>
                </a:lnTo>
                <a:lnTo>
                  <a:pt x="2448" y="1853"/>
                </a:lnTo>
                <a:lnTo>
                  <a:pt x="2443" y="1848"/>
                </a:lnTo>
                <a:lnTo>
                  <a:pt x="2440" y="1843"/>
                </a:lnTo>
                <a:lnTo>
                  <a:pt x="2434" y="1833"/>
                </a:lnTo>
                <a:lnTo>
                  <a:pt x="2430" y="1821"/>
                </a:lnTo>
                <a:lnTo>
                  <a:pt x="2427" y="1810"/>
                </a:lnTo>
                <a:lnTo>
                  <a:pt x="2427" y="1797"/>
                </a:lnTo>
                <a:lnTo>
                  <a:pt x="2427" y="1689"/>
                </a:lnTo>
                <a:lnTo>
                  <a:pt x="2393" y="1689"/>
                </a:lnTo>
                <a:lnTo>
                  <a:pt x="2393" y="1639"/>
                </a:lnTo>
                <a:lnTo>
                  <a:pt x="2427" y="1639"/>
                </a:lnTo>
                <a:lnTo>
                  <a:pt x="2427" y="1581"/>
                </a:lnTo>
                <a:lnTo>
                  <a:pt x="2482" y="1554"/>
                </a:lnTo>
                <a:lnTo>
                  <a:pt x="2482" y="1639"/>
                </a:lnTo>
                <a:lnTo>
                  <a:pt x="2528" y="1639"/>
                </a:lnTo>
                <a:lnTo>
                  <a:pt x="2528" y="1689"/>
                </a:lnTo>
                <a:lnTo>
                  <a:pt x="2482" y="1689"/>
                </a:lnTo>
                <a:lnTo>
                  <a:pt x="2482" y="1783"/>
                </a:lnTo>
                <a:lnTo>
                  <a:pt x="2482" y="1783"/>
                </a:lnTo>
                <a:lnTo>
                  <a:pt x="2482" y="1791"/>
                </a:lnTo>
                <a:lnTo>
                  <a:pt x="2483" y="1796"/>
                </a:lnTo>
                <a:lnTo>
                  <a:pt x="2485" y="1802"/>
                </a:lnTo>
                <a:lnTo>
                  <a:pt x="2488" y="1806"/>
                </a:lnTo>
                <a:lnTo>
                  <a:pt x="2491" y="1810"/>
                </a:lnTo>
                <a:lnTo>
                  <a:pt x="2495" y="1812"/>
                </a:lnTo>
                <a:lnTo>
                  <a:pt x="2500" y="1813"/>
                </a:lnTo>
                <a:lnTo>
                  <a:pt x="2505" y="1813"/>
                </a:lnTo>
                <a:lnTo>
                  <a:pt x="2505" y="1813"/>
                </a:lnTo>
                <a:lnTo>
                  <a:pt x="2514" y="1813"/>
                </a:lnTo>
                <a:lnTo>
                  <a:pt x="2523" y="1811"/>
                </a:lnTo>
                <a:lnTo>
                  <a:pt x="2531" y="1807"/>
                </a:lnTo>
                <a:lnTo>
                  <a:pt x="2538" y="1803"/>
                </a:lnTo>
                <a:lnTo>
                  <a:pt x="2532" y="1855"/>
                </a:lnTo>
                <a:close/>
                <a:moveTo>
                  <a:pt x="3074" y="1700"/>
                </a:moveTo>
                <a:lnTo>
                  <a:pt x="3074" y="1700"/>
                </a:lnTo>
                <a:lnTo>
                  <a:pt x="3066" y="1695"/>
                </a:lnTo>
                <a:lnTo>
                  <a:pt x="3057" y="1691"/>
                </a:lnTo>
                <a:lnTo>
                  <a:pt x="3047" y="1689"/>
                </a:lnTo>
                <a:lnTo>
                  <a:pt x="3037" y="1688"/>
                </a:lnTo>
                <a:lnTo>
                  <a:pt x="3037" y="1688"/>
                </a:lnTo>
                <a:lnTo>
                  <a:pt x="3028" y="1689"/>
                </a:lnTo>
                <a:lnTo>
                  <a:pt x="3020" y="1691"/>
                </a:lnTo>
                <a:lnTo>
                  <a:pt x="3013" y="1696"/>
                </a:lnTo>
                <a:lnTo>
                  <a:pt x="3007" y="1701"/>
                </a:lnTo>
                <a:lnTo>
                  <a:pt x="3003" y="1708"/>
                </a:lnTo>
                <a:lnTo>
                  <a:pt x="3001" y="1717"/>
                </a:lnTo>
                <a:lnTo>
                  <a:pt x="2999" y="1728"/>
                </a:lnTo>
                <a:lnTo>
                  <a:pt x="2998" y="1740"/>
                </a:lnTo>
                <a:lnTo>
                  <a:pt x="2998" y="1860"/>
                </a:lnTo>
                <a:lnTo>
                  <a:pt x="2943" y="1860"/>
                </a:lnTo>
                <a:lnTo>
                  <a:pt x="2943" y="1639"/>
                </a:lnTo>
                <a:lnTo>
                  <a:pt x="2998" y="1639"/>
                </a:lnTo>
                <a:lnTo>
                  <a:pt x="2998" y="1657"/>
                </a:lnTo>
                <a:lnTo>
                  <a:pt x="2998" y="1657"/>
                </a:lnTo>
                <a:lnTo>
                  <a:pt x="3003" y="1652"/>
                </a:lnTo>
                <a:lnTo>
                  <a:pt x="3009" y="1646"/>
                </a:lnTo>
                <a:lnTo>
                  <a:pt x="3014" y="1643"/>
                </a:lnTo>
                <a:lnTo>
                  <a:pt x="3021" y="1640"/>
                </a:lnTo>
                <a:lnTo>
                  <a:pt x="3026" y="1636"/>
                </a:lnTo>
                <a:lnTo>
                  <a:pt x="3033" y="1635"/>
                </a:lnTo>
                <a:lnTo>
                  <a:pt x="3039" y="1634"/>
                </a:lnTo>
                <a:lnTo>
                  <a:pt x="3047" y="1633"/>
                </a:lnTo>
                <a:lnTo>
                  <a:pt x="3047" y="1633"/>
                </a:lnTo>
                <a:lnTo>
                  <a:pt x="3058" y="1634"/>
                </a:lnTo>
                <a:lnTo>
                  <a:pt x="3069" y="1637"/>
                </a:lnTo>
                <a:lnTo>
                  <a:pt x="3079" y="1641"/>
                </a:lnTo>
                <a:lnTo>
                  <a:pt x="3088" y="1646"/>
                </a:lnTo>
                <a:lnTo>
                  <a:pt x="3074" y="1700"/>
                </a:lnTo>
                <a:close/>
                <a:moveTo>
                  <a:pt x="593" y="1579"/>
                </a:moveTo>
                <a:lnTo>
                  <a:pt x="593" y="1607"/>
                </a:lnTo>
                <a:lnTo>
                  <a:pt x="537" y="1607"/>
                </a:lnTo>
                <a:lnTo>
                  <a:pt x="537" y="1551"/>
                </a:lnTo>
                <a:lnTo>
                  <a:pt x="593" y="1551"/>
                </a:lnTo>
                <a:lnTo>
                  <a:pt x="593" y="1579"/>
                </a:lnTo>
                <a:close/>
                <a:moveTo>
                  <a:pt x="975" y="1639"/>
                </a:moveTo>
                <a:lnTo>
                  <a:pt x="1030" y="1639"/>
                </a:lnTo>
                <a:lnTo>
                  <a:pt x="1030" y="1738"/>
                </a:lnTo>
                <a:lnTo>
                  <a:pt x="1030" y="1860"/>
                </a:lnTo>
                <a:lnTo>
                  <a:pt x="975" y="1860"/>
                </a:lnTo>
                <a:lnTo>
                  <a:pt x="975" y="1639"/>
                </a:lnTo>
                <a:close/>
                <a:moveTo>
                  <a:pt x="1030" y="1579"/>
                </a:moveTo>
                <a:lnTo>
                  <a:pt x="1030" y="1607"/>
                </a:lnTo>
                <a:lnTo>
                  <a:pt x="975" y="1607"/>
                </a:lnTo>
                <a:lnTo>
                  <a:pt x="975" y="1551"/>
                </a:lnTo>
                <a:lnTo>
                  <a:pt x="1030" y="1551"/>
                </a:lnTo>
                <a:lnTo>
                  <a:pt x="1030" y="1579"/>
                </a:lnTo>
                <a:close/>
                <a:moveTo>
                  <a:pt x="2539" y="2042"/>
                </a:moveTo>
                <a:lnTo>
                  <a:pt x="2539" y="2042"/>
                </a:lnTo>
                <a:lnTo>
                  <a:pt x="2534" y="2038"/>
                </a:lnTo>
                <a:lnTo>
                  <a:pt x="2528" y="2033"/>
                </a:lnTo>
                <a:lnTo>
                  <a:pt x="2523" y="2030"/>
                </a:lnTo>
                <a:lnTo>
                  <a:pt x="2516" y="2027"/>
                </a:lnTo>
                <a:lnTo>
                  <a:pt x="2511" y="2025"/>
                </a:lnTo>
                <a:lnTo>
                  <a:pt x="2504" y="2024"/>
                </a:lnTo>
                <a:lnTo>
                  <a:pt x="2490" y="2021"/>
                </a:lnTo>
                <a:lnTo>
                  <a:pt x="2490" y="2021"/>
                </a:lnTo>
                <a:lnTo>
                  <a:pt x="2480" y="2022"/>
                </a:lnTo>
                <a:lnTo>
                  <a:pt x="2471" y="2024"/>
                </a:lnTo>
                <a:lnTo>
                  <a:pt x="2462" y="2027"/>
                </a:lnTo>
                <a:lnTo>
                  <a:pt x="2453" y="2030"/>
                </a:lnTo>
                <a:lnTo>
                  <a:pt x="2446" y="2035"/>
                </a:lnTo>
                <a:lnTo>
                  <a:pt x="2439" y="2039"/>
                </a:lnTo>
                <a:lnTo>
                  <a:pt x="2432" y="2046"/>
                </a:lnTo>
                <a:lnTo>
                  <a:pt x="2426" y="2052"/>
                </a:lnTo>
                <a:lnTo>
                  <a:pt x="2421" y="2060"/>
                </a:lnTo>
                <a:lnTo>
                  <a:pt x="2416" y="2069"/>
                </a:lnTo>
                <a:lnTo>
                  <a:pt x="2413" y="2078"/>
                </a:lnTo>
                <a:lnTo>
                  <a:pt x="2409" y="2089"/>
                </a:lnTo>
                <a:lnTo>
                  <a:pt x="2406" y="2099"/>
                </a:lnTo>
                <a:lnTo>
                  <a:pt x="2405" y="2111"/>
                </a:lnTo>
                <a:lnTo>
                  <a:pt x="2404" y="2123"/>
                </a:lnTo>
                <a:lnTo>
                  <a:pt x="2403" y="2136"/>
                </a:lnTo>
                <a:lnTo>
                  <a:pt x="2403" y="2136"/>
                </a:lnTo>
                <a:lnTo>
                  <a:pt x="2404" y="2149"/>
                </a:lnTo>
                <a:lnTo>
                  <a:pt x="2405" y="2161"/>
                </a:lnTo>
                <a:lnTo>
                  <a:pt x="2406" y="2174"/>
                </a:lnTo>
                <a:lnTo>
                  <a:pt x="2409" y="2186"/>
                </a:lnTo>
                <a:lnTo>
                  <a:pt x="2411" y="2196"/>
                </a:lnTo>
                <a:lnTo>
                  <a:pt x="2416" y="2206"/>
                </a:lnTo>
                <a:lnTo>
                  <a:pt x="2420" y="2214"/>
                </a:lnTo>
                <a:lnTo>
                  <a:pt x="2426" y="2222"/>
                </a:lnTo>
                <a:lnTo>
                  <a:pt x="2431" y="2230"/>
                </a:lnTo>
                <a:lnTo>
                  <a:pt x="2438" y="2235"/>
                </a:lnTo>
                <a:lnTo>
                  <a:pt x="2445" y="2241"/>
                </a:lnTo>
                <a:lnTo>
                  <a:pt x="2452" y="2245"/>
                </a:lnTo>
                <a:lnTo>
                  <a:pt x="2461" y="2250"/>
                </a:lnTo>
                <a:lnTo>
                  <a:pt x="2470" y="2252"/>
                </a:lnTo>
                <a:lnTo>
                  <a:pt x="2479" y="2253"/>
                </a:lnTo>
                <a:lnTo>
                  <a:pt x="2489" y="2254"/>
                </a:lnTo>
                <a:lnTo>
                  <a:pt x="2489" y="2254"/>
                </a:lnTo>
                <a:lnTo>
                  <a:pt x="2495" y="2253"/>
                </a:lnTo>
                <a:lnTo>
                  <a:pt x="2503" y="2252"/>
                </a:lnTo>
                <a:lnTo>
                  <a:pt x="2510" y="2251"/>
                </a:lnTo>
                <a:lnTo>
                  <a:pt x="2515" y="2249"/>
                </a:lnTo>
                <a:lnTo>
                  <a:pt x="2522" y="2245"/>
                </a:lnTo>
                <a:lnTo>
                  <a:pt x="2528" y="2242"/>
                </a:lnTo>
                <a:lnTo>
                  <a:pt x="2534" y="2238"/>
                </a:lnTo>
                <a:lnTo>
                  <a:pt x="2539" y="2232"/>
                </a:lnTo>
                <a:lnTo>
                  <a:pt x="2539" y="2249"/>
                </a:lnTo>
                <a:lnTo>
                  <a:pt x="2595" y="2249"/>
                </a:lnTo>
                <a:lnTo>
                  <a:pt x="2595" y="1934"/>
                </a:lnTo>
                <a:lnTo>
                  <a:pt x="2539" y="1962"/>
                </a:lnTo>
                <a:lnTo>
                  <a:pt x="2539" y="2042"/>
                </a:lnTo>
                <a:close/>
                <a:moveTo>
                  <a:pt x="2501" y="2203"/>
                </a:moveTo>
                <a:lnTo>
                  <a:pt x="2501" y="2203"/>
                </a:lnTo>
                <a:lnTo>
                  <a:pt x="2493" y="2202"/>
                </a:lnTo>
                <a:lnTo>
                  <a:pt x="2487" y="2200"/>
                </a:lnTo>
                <a:lnTo>
                  <a:pt x="2479" y="2197"/>
                </a:lnTo>
                <a:lnTo>
                  <a:pt x="2472" y="2190"/>
                </a:lnTo>
                <a:lnTo>
                  <a:pt x="2467" y="2181"/>
                </a:lnTo>
                <a:lnTo>
                  <a:pt x="2462" y="2169"/>
                </a:lnTo>
                <a:lnTo>
                  <a:pt x="2460" y="2154"/>
                </a:lnTo>
                <a:lnTo>
                  <a:pt x="2459" y="2134"/>
                </a:lnTo>
                <a:lnTo>
                  <a:pt x="2459" y="2134"/>
                </a:lnTo>
                <a:lnTo>
                  <a:pt x="2460" y="2117"/>
                </a:lnTo>
                <a:lnTo>
                  <a:pt x="2462" y="2103"/>
                </a:lnTo>
                <a:lnTo>
                  <a:pt x="2467" y="2092"/>
                </a:lnTo>
                <a:lnTo>
                  <a:pt x="2472" y="2084"/>
                </a:lnTo>
                <a:lnTo>
                  <a:pt x="2479" y="2079"/>
                </a:lnTo>
                <a:lnTo>
                  <a:pt x="2485" y="2074"/>
                </a:lnTo>
                <a:lnTo>
                  <a:pt x="2493" y="2073"/>
                </a:lnTo>
                <a:lnTo>
                  <a:pt x="2500" y="2072"/>
                </a:lnTo>
                <a:lnTo>
                  <a:pt x="2500" y="2072"/>
                </a:lnTo>
                <a:lnTo>
                  <a:pt x="2507" y="2073"/>
                </a:lnTo>
                <a:lnTo>
                  <a:pt x="2514" y="2074"/>
                </a:lnTo>
                <a:lnTo>
                  <a:pt x="2520" y="2076"/>
                </a:lnTo>
                <a:lnTo>
                  <a:pt x="2525" y="2080"/>
                </a:lnTo>
                <a:lnTo>
                  <a:pt x="2530" y="2083"/>
                </a:lnTo>
                <a:lnTo>
                  <a:pt x="2534" y="2086"/>
                </a:lnTo>
                <a:lnTo>
                  <a:pt x="2539" y="2094"/>
                </a:lnTo>
                <a:lnTo>
                  <a:pt x="2539" y="2181"/>
                </a:lnTo>
                <a:lnTo>
                  <a:pt x="2539" y="2181"/>
                </a:lnTo>
                <a:lnTo>
                  <a:pt x="2533" y="2189"/>
                </a:lnTo>
                <a:lnTo>
                  <a:pt x="2525" y="2196"/>
                </a:lnTo>
                <a:lnTo>
                  <a:pt x="2520" y="2199"/>
                </a:lnTo>
                <a:lnTo>
                  <a:pt x="2514" y="2201"/>
                </a:lnTo>
                <a:lnTo>
                  <a:pt x="2507" y="2202"/>
                </a:lnTo>
                <a:lnTo>
                  <a:pt x="2501" y="2203"/>
                </a:lnTo>
                <a:lnTo>
                  <a:pt x="2501" y="2203"/>
                </a:lnTo>
                <a:close/>
                <a:moveTo>
                  <a:pt x="672" y="2089"/>
                </a:moveTo>
                <a:lnTo>
                  <a:pt x="672" y="2089"/>
                </a:lnTo>
                <a:lnTo>
                  <a:pt x="664" y="2084"/>
                </a:lnTo>
                <a:lnTo>
                  <a:pt x="656" y="2080"/>
                </a:lnTo>
                <a:lnTo>
                  <a:pt x="646" y="2078"/>
                </a:lnTo>
                <a:lnTo>
                  <a:pt x="636" y="2076"/>
                </a:lnTo>
                <a:lnTo>
                  <a:pt x="636" y="2076"/>
                </a:lnTo>
                <a:lnTo>
                  <a:pt x="627" y="2078"/>
                </a:lnTo>
                <a:lnTo>
                  <a:pt x="618" y="2080"/>
                </a:lnTo>
                <a:lnTo>
                  <a:pt x="611" y="2084"/>
                </a:lnTo>
                <a:lnTo>
                  <a:pt x="606" y="2090"/>
                </a:lnTo>
                <a:lnTo>
                  <a:pt x="601" y="2096"/>
                </a:lnTo>
                <a:lnTo>
                  <a:pt x="599" y="2105"/>
                </a:lnTo>
                <a:lnTo>
                  <a:pt x="597" y="2116"/>
                </a:lnTo>
                <a:lnTo>
                  <a:pt x="596" y="2128"/>
                </a:lnTo>
                <a:lnTo>
                  <a:pt x="596" y="2249"/>
                </a:lnTo>
                <a:lnTo>
                  <a:pt x="542" y="2249"/>
                </a:lnTo>
                <a:lnTo>
                  <a:pt x="542" y="2027"/>
                </a:lnTo>
                <a:lnTo>
                  <a:pt x="596" y="2027"/>
                </a:lnTo>
                <a:lnTo>
                  <a:pt x="596" y="2046"/>
                </a:lnTo>
                <a:lnTo>
                  <a:pt x="596" y="2046"/>
                </a:lnTo>
                <a:lnTo>
                  <a:pt x="601" y="2040"/>
                </a:lnTo>
                <a:lnTo>
                  <a:pt x="607" y="2035"/>
                </a:lnTo>
                <a:lnTo>
                  <a:pt x="613" y="2031"/>
                </a:lnTo>
                <a:lnTo>
                  <a:pt x="619" y="2028"/>
                </a:lnTo>
                <a:lnTo>
                  <a:pt x="625" y="2025"/>
                </a:lnTo>
                <a:lnTo>
                  <a:pt x="631" y="2024"/>
                </a:lnTo>
                <a:lnTo>
                  <a:pt x="639" y="2022"/>
                </a:lnTo>
                <a:lnTo>
                  <a:pt x="646" y="2021"/>
                </a:lnTo>
                <a:lnTo>
                  <a:pt x="646" y="2021"/>
                </a:lnTo>
                <a:lnTo>
                  <a:pt x="657" y="2022"/>
                </a:lnTo>
                <a:lnTo>
                  <a:pt x="668" y="2026"/>
                </a:lnTo>
                <a:lnTo>
                  <a:pt x="679" y="2030"/>
                </a:lnTo>
                <a:lnTo>
                  <a:pt x="688" y="2036"/>
                </a:lnTo>
                <a:lnTo>
                  <a:pt x="672" y="2089"/>
                </a:lnTo>
                <a:close/>
                <a:moveTo>
                  <a:pt x="241" y="2027"/>
                </a:moveTo>
                <a:lnTo>
                  <a:pt x="295" y="2027"/>
                </a:lnTo>
                <a:lnTo>
                  <a:pt x="232" y="2249"/>
                </a:lnTo>
                <a:lnTo>
                  <a:pt x="184" y="2249"/>
                </a:lnTo>
                <a:lnTo>
                  <a:pt x="160" y="2157"/>
                </a:lnTo>
                <a:lnTo>
                  <a:pt x="160" y="2157"/>
                </a:lnTo>
                <a:lnTo>
                  <a:pt x="148" y="2108"/>
                </a:lnTo>
                <a:lnTo>
                  <a:pt x="148" y="2108"/>
                </a:lnTo>
                <a:lnTo>
                  <a:pt x="142" y="2132"/>
                </a:lnTo>
                <a:lnTo>
                  <a:pt x="136" y="2158"/>
                </a:lnTo>
                <a:lnTo>
                  <a:pt x="110" y="2249"/>
                </a:lnTo>
                <a:lnTo>
                  <a:pt x="63" y="2249"/>
                </a:lnTo>
                <a:lnTo>
                  <a:pt x="63" y="2247"/>
                </a:lnTo>
                <a:lnTo>
                  <a:pt x="0" y="2027"/>
                </a:lnTo>
                <a:lnTo>
                  <a:pt x="57" y="2027"/>
                </a:lnTo>
                <a:lnTo>
                  <a:pt x="77" y="2110"/>
                </a:lnTo>
                <a:lnTo>
                  <a:pt x="77" y="2110"/>
                </a:lnTo>
                <a:lnTo>
                  <a:pt x="83" y="2136"/>
                </a:lnTo>
                <a:lnTo>
                  <a:pt x="88" y="2164"/>
                </a:lnTo>
                <a:lnTo>
                  <a:pt x="88" y="2164"/>
                </a:lnTo>
                <a:lnTo>
                  <a:pt x="95" y="2136"/>
                </a:lnTo>
                <a:lnTo>
                  <a:pt x="102" y="2108"/>
                </a:lnTo>
                <a:lnTo>
                  <a:pt x="125" y="2027"/>
                </a:lnTo>
                <a:lnTo>
                  <a:pt x="172" y="2027"/>
                </a:lnTo>
                <a:lnTo>
                  <a:pt x="195" y="2108"/>
                </a:lnTo>
                <a:lnTo>
                  <a:pt x="195" y="2108"/>
                </a:lnTo>
                <a:lnTo>
                  <a:pt x="202" y="2135"/>
                </a:lnTo>
                <a:lnTo>
                  <a:pt x="209" y="2165"/>
                </a:lnTo>
                <a:lnTo>
                  <a:pt x="209" y="2165"/>
                </a:lnTo>
                <a:lnTo>
                  <a:pt x="213" y="2139"/>
                </a:lnTo>
                <a:lnTo>
                  <a:pt x="220" y="2108"/>
                </a:lnTo>
                <a:lnTo>
                  <a:pt x="241" y="2027"/>
                </a:lnTo>
                <a:close/>
                <a:moveTo>
                  <a:pt x="406" y="2021"/>
                </a:moveTo>
                <a:lnTo>
                  <a:pt x="406" y="2021"/>
                </a:lnTo>
                <a:lnTo>
                  <a:pt x="396" y="2022"/>
                </a:lnTo>
                <a:lnTo>
                  <a:pt x="385" y="2024"/>
                </a:lnTo>
                <a:lnTo>
                  <a:pt x="375" y="2027"/>
                </a:lnTo>
                <a:lnTo>
                  <a:pt x="366" y="2030"/>
                </a:lnTo>
                <a:lnTo>
                  <a:pt x="358" y="2035"/>
                </a:lnTo>
                <a:lnTo>
                  <a:pt x="349" y="2040"/>
                </a:lnTo>
                <a:lnTo>
                  <a:pt x="341" y="2047"/>
                </a:lnTo>
                <a:lnTo>
                  <a:pt x="334" y="2054"/>
                </a:lnTo>
                <a:lnTo>
                  <a:pt x="328" y="2062"/>
                </a:lnTo>
                <a:lnTo>
                  <a:pt x="322" y="2071"/>
                </a:lnTo>
                <a:lnTo>
                  <a:pt x="317" y="2081"/>
                </a:lnTo>
                <a:lnTo>
                  <a:pt x="313" y="2091"/>
                </a:lnTo>
                <a:lnTo>
                  <a:pt x="310" y="2102"/>
                </a:lnTo>
                <a:lnTo>
                  <a:pt x="308" y="2113"/>
                </a:lnTo>
                <a:lnTo>
                  <a:pt x="306" y="2125"/>
                </a:lnTo>
                <a:lnTo>
                  <a:pt x="306" y="2138"/>
                </a:lnTo>
                <a:lnTo>
                  <a:pt x="306" y="2138"/>
                </a:lnTo>
                <a:lnTo>
                  <a:pt x="306" y="2150"/>
                </a:lnTo>
                <a:lnTo>
                  <a:pt x="308" y="2163"/>
                </a:lnTo>
                <a:lnTo>
                  <a:pt x="310" y="2174"/>
                </a:lnTo>
                <a:lnTo>
                  <a:pt x="313" y="2185"/>
                </a:lnTo>
                <a:lnTo>
                  <a:pt x="317" y="2194"/>
                </a:lnTo>
                <a:lnTo>
                  <a:pt x="322" y="2204"/>
                </a:lnTo>
                <a:lnTo>
                  <a:pt x="328" y="2213"/>
                </a:lnTo>
                <a:lnTo>
                  <a:pt x="334" y="2221"/>
                </a:lnTo>
                <a:lnTo>
                  <a:pt x="341" y="2229"/>
                </a:lnTo>
                <a:lnTo>
                  <a:pt x="349" y="2235"/>
                </a:lnTo>
                <a:lnTo>
                  <a:pt x="358" y="2241"/>
                </a:lnTo>
                <a:lnTo>
                  <a:pt x="366" y="2245"/>
                </a:lnTo>
                <a:lnTo>
                  <a:pt x="375" y="2249"/>
                </a:lnTo>
                <a:lnTo>
                  <a:pt x="385" y="2252"/>
                </a:lnTo>
                <a:lnTo>
                  <a:pt x="396" y="2253"/>
                </a:lnTo>
                <a:lnTo>
                  <a:pt x="406" y="2254"/>
                </a:lnTo>
                <a:lnTo>
                  <a:pt x="406" y="2254"/>
                </a:lnTo>
                <a:lnTo>
                  <a:pt x="417" y="2253"/>
                </a:lnTo>
                <a:lnTo>
                  <a:pt x="428" y="2252"/>
                </a:lnTo>
                <a:lnTo>
                  <a:pt x="438" y="2249"/>
                </a:lnTo>
                <a:lnTo>
                  <a:pt x="447" y="2245"/>
                </a:lnTo>
                <a:lnTo>
                  <a:pt x="456" y="2241"/>
                </a:lnTo>
                <a:lnTo>
                  <a:pt x="465" y="2235"/>
                </a:lnTo>
                <a:lnTo>
                  <a:pt x="472" y="2229"/>
                </a:lnTo>
                <a:lnTo>
                  <a:pt x="479" y="2221"/>
                </a:lnTo>
                <a:lnTo>
                  <a:pt x="486" y="2213"/>
                </a:lnTo>
                <a:lnTo>
                  <a:pt x="491" y="2204"/>
                </a:lnTo>
                <a:lnTo>
                  <a:pt x="496" y="2194"/>
                </a:lnTo>
                <a:lnTo>
                  <a:pt x="500" y="2185"/>
                </a:lnTo>
                <a:lnTo>
                  <a:pt x="503" y="2174"/>
                </a:lnTo>
                <a:lnTo>
                  <a:pt x="505" y="2163"/>
                </a:lnTo>
                <a:lnTo>
                  <a:pt x="508" y="2150"/>
                </a:lnTo>
                <a:lnTo>
                  <a:pt x="508" y="2138"/>
                </a:lnTo>
                <a:lnTo>
                  <a:pt x="508" y="2138"/>
                </a:lnTo>
                <a:lnTo>
                  <a:pt x="508" y="2125"/>
                </a:lnTo>
                <a:lnTo>
                  <a:pt x="505" y="2113"/>
                </a:lnTo>
                <a:lnTo>
                  <a:pt x="503" y="2102"/>
                </a:lnTo>
                <a:lnTo>
                  <a:pt x="500" y="2091"/>
                </a:lnTo>
                <a:lnTo>
                  <a:pt x="496" y="2081"/>
                </a:lnTo>
                <a:lnTo>
                  <a:pt x="491" y="2071"/>
                </a:lnTo>
                <a:lnTo>
                  <a:pt x="486" y="2062"/>
                </a:lnTo>
                <a:lnTo>
                  <a:pt x="479" y="2054"/>
                </a:lnTo>
                <a:lnTo>
                  <a:pt x="472" y="2047"/>
                </a:lnTo>
                <a:lnTo>
                  <a:pt x="465" y="2040"/>
                </a:lnTo>
                <a:lnTo>
                  <a:pt x="456" y="2035"/>
                </a:lnTo>
                <a:lnTo>
                  <a:pt x="447" y="2030"/>
                </a:lnTo>
                <a:lnTo>
                  <a:pt x="438" y="2027"/>
                </a:lnTo>
                <a:lnTo>
                  <a:pt x="428" y="2024"/>
                </a:lnTo>
                <a:lnTo>
                  <a:pt x="417" y="2022"/>
                </a:lnTo>
                <a:lnTo>
                  <a:pt x="406" y="2021"/>
                </a:lnTo>
                <a:lnTo>
                  <a:pt x="406" y="2021"/>
                </a:lnTo>
                <a:close/>
                <a:moveTo>
                  <a:pt x="406" y="2202"/>
                </a:moveTo>
                <a:lnTo>
                  <a:pt x="406" y="2202"/>
                </a:lnTo>
                <a:lnTo>
                  <a:pt x="396" y="2201"/>
                </a:lnTo>
                <a:lnTo>
                  <a:pt x="387" y="2198"/>
                </a:lnTo>
                <a:lnTo>
                  <a:pt x="381" y="2192"/>
                </a:lnTo>
                <a:lnTo>
                  <a:pt x="374" y="2185"/>
                </a:lnTo>
                <a:lnTo>
                  <a:pt x="369" y="2176"/>
                </a:lnTo>
                <a:lnTo>
                  <a:pt x="364" y="2165"/>
                </a:lnTo>
                <a:lnTo>
                  <a:pt x="362" y="2151"/>
                </a:lnTo>
                <a:lnTo>
                  <a:pt x="362" y="2138"/>
                </a:lnTo>
                <a:lnTo>
                  <a:pt x="362" y="2138"/>
                </a:lnTo>
                <a:lnTo>
                  <a:pt x="362" y="2124"/>
                </a:lnTo>
                <a:lnTo>
                  <a:pt x="364" y="2111"/>
                </a:lnTo>
                <a:lnTo>
                  <a:pt x="369" y="2101"/>
                </a:lnTo>
                <a:lnTo>
                  <a:pt x="374" y="2091"/>
                </a:lnTo>
                <a:lnTo>
                  <a:pt x="381" y="2083"/>
                </a:lnTo>
                <a:lnTo>
                  <a:pt x="387" y="2078"/>
                </a:lnTo>
                <a:lnTo>
                  <a:pt x="396" y="2074"/>
                </a:lnTo>
                <a:lnTo>
                  <a:pt x="406" y="2073"/>
                </a:lnTo>
                <a:lnTo>
                  <a:pt x="406" y="2073"/>
                </a:lnTo>
                <a:lnTo>
                  <a:pt x="416" y="2074"/>
                </a:lnTo>
                <a:lnTo>
                  <a:pt x="425" y="2078"/>
                </a:lnTo>
                <a:lnTo>
                  <a:pt x="433" y="2083"/>
                </a:lnTo>
                <a:lnTo>
                  <a:pt x="439" y="2091"/>
                </a:lnTo>
                <a:lnTo>
                  <a:pt x="445" y="2101"/>
                </a:lnTo>
                <a:lnTo>
                  <a:pt x="448" y="2111"/>
                </a:lnTo>
                <a:lnTo>
                  <a:pt x="450" y="2124"/>
                </a:lnTo>
                <a:lnTo>
                  <a:pt x="451" y="2138"/>
                </a:lnTo>
                <a:lnTo>
                  <a:pt x="451" y="2138"/>
                </a:lnTo>
                <a:lnTo>
                  <a:pt x="450" y="2151"/>
                </a:lnTo>
                <a:lnTo>
                  <a:pt x="448" y="2165"/>
                </a:lnTo>
                <a:lnTo>
                  <a:pt x="445" y="2176"/>
                </a:lnTo>
                <a:lnTo>
                  <a:pt x="439" y="2185"/>
                </a:lnTo>
                <a:lnTo>
                  <a:pt x="433" y="2192"/>
                </a:lnTo>
                <a:lnTo>
                  <a:pt x="425" y="2198"/>
                </a:lnTo>
                <a:lnTo>
                  <a:pt x="416" y="2201"/>
                </a:lnTo>
                <a:lnTo>
                  <a:pt x="406" y="2202"/>
                </a:lnTo>
                <a:lnTo>
                  <a:pt x="406" y="2202"/>
                </a:lnTo>
                <a:close/>
                <a:moveTo>
                  <a:pt x="2269" y="2089"/>
                </a:moveTo>
                <a:lnTo>
                  <a:pt x="2269" y="2089"/>
                </a:lnTo>
                <a:lnTo>
                  <a:pt x="2260" y="2084"/>
                </a:lnTo>
                <a:lnTo>
                  <a:pt x="2251" y="2080"/>
                </a:lnTo>
                <a:lnTo>
                  <a:pt x="2242" y="2078"/>
                </a:lnTo>
                <a:lnTo>
                  <a:pt x="2233" y="2076"/>
                </a:lnTo>
                <a:lnTo>
                  <a:pt x="2233" y="2076"/>
                </a:lnTo>
                <a:lnTo>
                  <a:pt x="2223" y="2078"/>
                </a:lnTo>
                <a:lnTo>
                  <a:pt x="2215" y="2080"/>
                </a:lnTo>
                <a:lnTo>
                  <a:pt x="2208" y="2084"/>
                </a:lnTo>
                <a:lnTo>
                  <a:pt x="2203" y="2090"/>
                </a:lnTo>
                <a:lnTo>
                  <a:pt x="2198" y="2096"/>
                </a:lnTo>
                <a:lnTo>
                  <a:pt x="2195" y="2105"/>
                </a:lnTo>
                <a:lnTo>
                  <a:pt x="2193" y="2116"/>
                </a:lnTo>
                <a:lnTo>
                  <a:pt x="2193" y="2128"/>
                </a:lnTo>
                <a:lnTo>
                  <a:pt x="2193" y="2249"/>
                </a:lnTo>
                <a:lnTo>
                  <a:pt x="2138" y="2249"/>
                </a:lnTo>
                <a:lnTo>
                  <a:pt x="2138" y="2027"/>
                </a:lnTo>
                <a:lnTo>
                  <a:pt x="2193" y="2027"/>
                </a:lnTo>
                <a:lnTo>
                  <a:pt x="2193" y="2046"/>
                </a:lnTo>
                <a:lnTo>
                  <a:pt x="2193" y="2046"/>
                </a:lnTo>
                <a:lnTo>
                  <a:pt x="2197" y="2040"/>
                </a:lnTo>
                <a:lnTo>
                  <a:pt x="2203" y="2035"/>
                </a:lnTo>
                <a:lnTo>
                  <a:pt x="2208" y="2031"/>
                </a:lnTo>
                <a:lnTo>
                  <a:pt x="2215" y="2028"/>
                </a:lnTo>
                <a:lnTo>
                  <a:pt x="2222" y="2025"/>
                </a:lnTo>
                <a:lnTo>
                  <a:pt x="2228" y="2024"/>
                </a:lnTo>
                <a:lnTo>
                  <a:pt x="2235" y="2022"/>
                </a:lnTo>
                <a:lnTo>
                  <a:pt x="2242" y="2021"/>
                </a:lnTo>
                <a:lnTo>
                  <a:pt x="2242" y="2021"/>
                </a:lnTo>
                <a:lnTo>
                  <a:pt x="2253" y="2022"/>
                </a:lnTo>
                <a:lnTo>
                  <a:pt x="2264" y="2026"/>
                </a:lnTo>
                <a:lnTo>
                  <a:pt x="2275" y="2030"/>
                </a:lnTo>
                <a:lnTo>
                  <a:pt x="2283" y="2036"/>
                </a:lnTo>
                <a:lnTo>
                  <a:pt x="2269" y="2089"/>
                </a:lnTo>
                <a:close/>
                <a:moveTo>
                  <a:pt x="1836" y="2027"/>
                </a:moveTo>
                <a:lnTo>
                  <a:pt x="1891" y="2027"/>
                </a:lnTo>
                <a:lnTo>
                  <a:pt x="1828" y="2249"/>
                </a:lnTo>
                <a:lnTo>
                  <a:pt x="1780" y="2249"/>
                </a:lnTo>
                <a:lnTo>
                  <a:pt x="1756" y="2157"/>
                </a:lnTo>
                <a:lnTo>
                  <a:pt x="1756" y="2157"/>
                </a:lnTo>
                <a:lnTo>
                  <a:pt x="1744" y="2108"/>
                </a:lnTo>
                <a:lnTo>
                  <a:pt x="1744" y="2108"/>
                </a:lnTo>
                <a:lnTo>
                  <a:pt x="1738" y="2132"/>
                </a:lnTo>
                <a:lnTo>
                  <a:pt x="1732" y="2158"/>
                </a:lnTo>
                <a:lnTo>
                  <a:pt x="1707" y="2249"/>
                </a:lnTo>
                <a:lnTo>
                  <a:pt x="1660" y="2249"/>
                </a:lnTo>
                <a:lnTo>
                  <a:pt x="1659" y="2247"/>
                </a:lnTo>
                <a:lnTo>
                  <a:pt x="1597" y="2027"/>
                </a:lnTo>
                <a:lnTo>
                  <a:pt x="1653" y="2027"/>
                </a:lnTo>
                <a:lnTo>
                  <a:pt x="1674" y="2110"/>
                </a:lnTo>
                <a:lnTo>
                  <a:pt x="1674" y="2110"/>
                </a:lnTo>
                <a:lnTo>
                  <a:pt x="1680" y="2136"/>
                </a:lnTo>
                <a:lnTo>
                  <a:pt x="1685" y="2164"/>
                </a:lnTo>
                <a:lnTo>
                  <a:pt x="1685" y="2164"/>
                </a:lnTo>
                <a:lnTo>
                  <a:pt x="1691" y="2136"/>
                </a:lnTo>
                <a:lnTo>
                  <a:pt x="1699" y="2108"/>
                </a:lnTo>
                <a:lnTo>
                  <a:pt x="1722" y="2027"/>
                </a:lnTo>
                <a:lnTo>
                  <a:pt x="1768" y="2027"/>
                </a:lnTo>
                <a:lnTo>
                  <a:pt x="1791" y="2108"/>
                </a:lnTo>
                <a:lnTo>
                  <a:pt x="1791" y="2108"/>
                </a:lnTo>
                <a:lnTo>
                  <a:pt x="1798" y="2135"/>
                </a:lnTo>
                <a:lnTo>
                  <a:pt x="1804" y="2165"/>
                </a:lnTo>
                <a:lnTo>
                  <a:pt x="1804" y="2165"/>
                </a:lnTo>
                <a:lnTo>
                  <a:pt x="1810" y="2139"/>
                </a:lnTo>
                <a:lnTo>
                  <a:pt x="1817" y="2108"/>
                </a:lnTo>
                <a:lnTo>
                  <a:pt x="1836" y="2027"/>
                </a:lnTo>
                <a:close/>
                <a:moveTo>
                  <a:pt x="2002" y="2021"/>
                </a:moveTo>
                <a:lnTo>
                  <a:pt x="2002" y="2021"/>
                </a:lnTo>
                <a:lnTo>
                  <a:pt x="1992" y="2022"/>
                </a:lnTo>
                <a:lnTo>
                  <a:pt x="1981" y="2024"/>
                </a:lnTo>
                <a:lnTo>
                  <a:pt x="1971" y="2027"/>
                </a:lnTo>
                <a:lnTo>
                  <a:pt x="1962" y="2030"/>
                </a:lnTo>
                <a:lnTo>
                  <a:pt x="1953" y="2035"/>
                </a:lnTo>
                <a:lnTo>
                  <a:pt x="1945" y="2041"/>
                </a:lnTo>
                <a:lnTo>
                  <a:pt x="1937" y="2047"/>
                </a:lnTo>
                <a:lnTo>
                  <a:pt x="1930" y="2054"/>
                </a:lnTo>
                <a:lnTo>
                  <a:pt x="1924" y="2062"/>
                </a:lnTo>
                <a:lnTo>
                  <a:pt x="1918" y="2071"/>
                </a:lnTo>
                <a:lnTo>
                  <a:pt x="1913" y="2081"/>
                </a:lnTo>
                <a:lnTo>
                  <a:pt x="1909" y="2091"/>
                </a:lnTo>
                <a:lnTo>
                  <a:pt x="1906" y="2102"/>
                </a:lnTo>
                <a:lnTo>
                  <a:pt x="1903" y="2114"/>
                </a:lnTo>
                <a:lnTo>
                  <a:pt x="1902" y="2125"/>
                </a:lnTo>
                <a:lnTo>
                  <a:pt x="1902" y="2138"/>
                </a:lnTo>
                <a:lnTo>
                  <a:pt x="1902" y="2138"/>
                </a:lnTo>
                <a:lnTo>
                  <a:pt x="1902" y="2150"/>
                </a:lnTo>
                <a:lnTo>
                  <a:pt x="1903" y="2163"/>
                </a:lnTo>
                <a:lnTo>
                  <a:pt x="1906" y="2174"/>
                </a:lnTo>
                <a:lnTo>
                  <a:pt x="1909" y="2185"/>
                </a:lnTo>
                <a:lnTo>
                  <a:pt x="1913" y="2194"/>
                </a:lnTo>
                <a:lnTo>
                  <a:pt x="1918" y="2204"/>
                </a:lnTo>
                <a:lnTo>
                  <a:pt x="1924" y="2213"/>
                </a:lnTo>
                <a:lnTo>
                  <a:pt x="1930" y="2221"/>
                </a:lnTo>
                <a:lnTo>
                  <a:pt x="1937" y="2229"/>
                </a:lnTo>
                <a:lnTo>
                  <a:pt x="1945" y="2235"/>
                </a:lnTo>
                <a:lnTo>
                  <a:pt x="1953" y="2241"/>
                </a:lnTo>
                <a:lnTo>
                  <a:pt x="1962" y="2245"/>
                </a:lnTo>
                <a:lnTo>
                  <a:pt x="1971" y="2249"/>
                </a:lnTo>
                <a:lnTo>
                  <a:pt x="1981" y="2252"/>
                </a:lnTo>
                <a:lnTo>
                  <a:pt x="1992" y="2253"/>
                </a:lnTo>
                <a:lnTo>
                  <a:pt x="2002" y="2254"/>
                </a:lnTo>
                <a:lnTo>
                  <a:pt x="2002" y="2254"/>
                </a:lnTo>
                <a:lnTo>
                  <a:pt x="2013" y="2253"/>
                </a:lnTo>
                <a:lnTo>
                  <a:pt x="2024" y="2252"/>
                </a:lnTo>
                <a:lnTo>
                  <a:pt x="2034" y="2249"/>
                </a:lnTo>
                <a:lnTo>
                  <a:pt x="2043" y="2245"/>
                </a:lnTo>
                <a:lnTo>
                  <a:pt x="2052" y="2241"/>
                </a:lnTo>
                <a:lnTo>
                  <a:pt x="2061" y="2235"/>
                </a:lnTo>
                <a:lnTo>
                  <a:pt x="2068" y="2229"/>
                </a:lnTo>
                <a:lnTo>
                  <a:pt x="2075" y="2221"/>
                </a:lnTo>
                <a:lnTo>
                  <a:pt x="2081" y="2213"/>
                </a:lnTo>
                <a:lnTo>
                  <a:pt x="2087" y="2204"/>
                </a:lnTo>
                <a:lnTo>
                  <a:pt x="2091" y="2194"/>
                </a:lnTo>
                <a:lnTo>
                  <a:pt x="2096" y="2185"/>
                </a:lnTo>
                <a:lnTo>
                  <a:pt x="2099" y="2174"/>
                </a:lnTo>
                <a:lnTo>
                  <a:pt x="2101" y="2163"/>
                </a:lnTo>
                <a:lnTo>
                  <a:pt x="2104" y="2150"/>
                </a:lnTo>
                <a:lnTo>
                  <a:pt x="2104" y="2138"/>
                </a:lnTo>
                <a:lnTo>
                  <a:pt x="2104" y="2138"/>
                </a:lnTo>
                <a:lnTo>
                  <a:pt x="2104" y="2125"/>
                </a:lnTo>
                <a:lnTo>
                  <a:pt x="2101" y="2114"/>
                </a:lnTo>
                <a:lnTo>
                  <a:pt x="2099" y="2102"/>
                </a:lnTo>
                <a:lnTo>
                  <a:pt x="2096" y="2091"/>
                </a:lnTo>
                <a:lnTo>
                  <a:pt x="2091" y="2081"/>
                </a:lnTo>
                <a:lnTo>
                  <a:pt x="2087" y="2071"/>
                </a:lnTo>
                <a:lnTo>
                  <a:pt x="2081" y="2062"/>
                </a:lnTo>
                <a:lnTo>
                  <a:pt x="2075" y="2054"/>
                </a:lnTo>
                <a:lnTo>
                  <a:pt x="2068" y="2047"/>
                </a:lnTo>
                <a:lnTo>
                  <a:pt x="2061" y="2041"/>
                </a:lnTo>
                <a:lnTo>
                  <a:pt x="2052" y="2035"/>
                </a:lnTo>
                <a:lnTo>
                  <a:pt x="2043" y="2030"/>
                </a:lnTo>
                <a:lnTo>
                  <a:pt x="2034" y="2027"/>
                </a:lnTo>
                <a:lnTo>
                  <a:pt x="2024" y="2024"/>
                </a:lnTo>
                <a:lnTo>
                  <a:pt x="2013" y="2022"/>
                </a:lnTo>
                <a:lnTo>
                  <a:pt x="2002" y="2021"/>
                </a:lnTo>
                <a:lnTo>
                  <a:pt x="2002" y="2021"/>
                </a:lnTo>
                <a:close/>
                <a:moveTo>
                  <a:pt x="2002" y="2202"/>
                </a:moveTo>
                <a:lnTo>
                  <a:pt x="2002" y="2202"/>
                </a:lnTo>
                <a:lnTo>
                  <a:pt x="1992" y="2201"/>
                </a:lnTo>
                <a:lnTo>
                  <a:pt x="1984" y="2198"/>
                </a:lnTo>
                <a:lnTo>
                  <a:pt x="1977" y="2192"/>
                </a:lnTo>
                <a:lnTo>
                  <a:pt x="1970" y="2185"/>
                </a:lnTo>
                <a:lnTo>
                  <a:pt x="1964" y="2176"/>
                </a:lnTo>
                <a:lnTo>
                  <a:pt x="1960" y="2165"/>
                </a:lnTo>
                <a:lnTo>
                  <a:pt x="1958" y="2151"/>
                </a:lnTo>
                <a:lnTo>
                  <a:pt x="1958" y="2138"/>
                </a:lnTo>
                <a:lnTo>
                  <a:pt x="1958" y="2138"/>
                </a:lnTo>
                <a:lnTo>
                  <a:pt x="1958" y="2124"/>
                </a:lnTo>
                <a:lnTo>
                  <a:pt x="1960" y="2112"/>
                </a:lnTo>
                <a:lnTo>
                  <a:pt x="1964" y="2101"/>
                </a:lnTo>
                <a:lnTo>
                  <a:pt x="1970" y="2091"/>
                </a:lnTo>
                <a:lnTo>
                  <a:pt x="1977" y="2083"/>
                </a:lnTo>
                <a:lnTo>
                  <a:pt x="1984" y="2078"/>
                </a:lnTo>
                <a:lnTo>
                  <a:pt x="1992" y="2074"/>
                </a:lnTo>
                <a:lnTo>
                  <a:pt x="2002" y="2073"/>
                </a:lnTo>
                <a:lnTo>
                  <a:pt x="2002" y="2073"/>
                </a:lnTo>
                <a:lnTo>
                  <a:pt x="2012" y="2074"/>
                </a:lnTo>
                <a:lnTo>
                  <a:pt x="2021" y="2078"/>
                </a:lnTo>
                <a:lnTo>
                  <a:pt x="2029" y="2083"/>
                </a:lnTo>
                <a:lnTo>
                  <a:pt x="2035" y="2091"/>
                </a:lnTo>
                <a:lnTo>
                  <a:pt x="2041" y="2101"/>
                </a:lnTo>
                <a:lnTo>
                  <a:pt x="2044" y="2112"/>
                </a:lnTo>
                <a:lnTo>
                  <a:pt x="2046" y="2124"/>
                </a:lnTo>
                <a:lnTo>
                  <a:pt x="2047" y="2138"/>
                </a:lnTo>
                <a:lnTo>
                  <a:pt x="2047" y="2138"/>
                </a:lnTo>
                <a:lnTo>
                  <a:pt x="2046" y="2151"/>
                </a:lnTo>
                <a:lnTo>
                  <a:pt x="2044" y="2165"/>
                </a:lnTo>
                <a:lnTo>
                  <a:pt x="2041" y="2176"/>
                </a:lnTo>
                <a:lnTo>
                  <a:pt x="2035" y="2185"/>
                </a:lnTo>
                <a:lnTo>
                  <a:pt x="2029" y="2192"/>
                </a:lnTo>
                <a:lnTo>
                  <a:pt x="2021" y="2198"/>
                </a:lnTo>
                <a:lnTo>
                  <a:pt x="2012" y="2201"/>
                </a:lnTo>
                <a:lnTo>
                  <a:pt x="2002" y="2202"/>
                </a:lnTo>
                <a:lnTo>
                  <a:pt x="2002" y="2202"/>
                </a:lnTo>
                <a:close/>
                <a:moveTo>
                  <a:pt x="837" y="2100"/>
                </a:moveTo>
                <a:lnTo>
                  <a:pt x="904" y="2249"/>
                </a:lnTo>
                <a:lnTo>
                  <a:pt x="843" y="2249"/>
                </a:lnTo>
                <a:lnTo>
                  <a:pt x="797" y="2146"/>
                </a:lnTo>
                <a:lnTo>
                  <a:pt x="767" y="2182"/>
                </a:lnTo>
                <a:lnTo>
                  <a:pt x="767" y="2249"/>
                </a:lnTo>
                <a:lnTo>
                  <a:pt x="713" y="2249"/>
                </a:lnTo>
                <a:lnTo>
                  <a:pt x="713" y="1962"/>
                </a:lnTo>
                <a:lnTo>
                  <a:pt x="767" y="1934"/>
                </a:lnTo>
                <a:lnTo>
                  <a:pt x="767" y="2112"/>
                </a:lnTo>
                <a:lnTo>
                  <a:pt x="767" y="2112"/>
                </a:lnTo>
                <a:lnTo>
                  <a:pt x="788" y="2083"/>
                </a:lnTo>
                <a:lnTo>
                  <a:pt x="832" y="2027"/>
                </a:lnTo>
                <a:lnTo>
                  <a:pt x="896" y="2027"/>
                </a:lnTo>
                <a:lnTo>
                  <a:pt x="837" y="2100"/>
                </a:lnTo>
                <a:close/>
                <a:moveTo>
                  <a:pt x="1097" y="2249"/>
                </a:moveTo>
                <a:lnTo>
                  <a:pt x="1042" y="2249"/>
                </a:lnTo>
                <a:lnTo>
                  <a:pt x="1042" y="2027"/>
                </a:lnTo>
                <a:lnTo>
                  <a:pt x="1097" y="2027"/>
                </a:lnTo>
                <a:lnTo>
                  <a:pt x="1097" y="2046"/>
                </a:lnTo>
                <a:lnTo>
                  <a:pt x="1097" y="2046"/>
                </a:lnTo>
                <a:lnTo>
                  <a:pt x="1103" y="2040"/>
                </a:lnTo>
                <a:lnTo>
                  <a:pt x="1108" y="2036"/>
                </a:lnTo>
                <a:lnTo>
                  <a:pt x="1115" y="2031"/>
                </a:lnTo>
                <a:lnTo>
                  <a:pt x="1121" y="2028"/>
                </a:lnTo>
                <a:lnTo>
                  <a:pt x="1129" y="2026"/>
                </a:lnTo>
                <a:lnTo>
                  <a:pt x="1137" y="2024"/>
                </a:lnTo>
                <a:lnTo>
                  <a:pt x="1144" y="2022"/>
                </a:lnTo>
                <a:lnTo>
                  <a:pt x="1153" y="2021"/>
                </a:lnTo>
                <a:lnTo>
                  <a:pt x="1153" y="2021"/>
                </a:lnTo>
                <a:lnTo>
                  <a:pt x="1163" y="2022"/>
                </a:lnTo>
                <a:lnTo>
                  <a:pt x="1172" y="2024"/>
                </a:lnTo>
                <a:lnTo>
                  <a:pt x="1180" y="2026"/>
                </a:lnTo>
                <a:lnTo>
                  <a:pt x="1189" y="2028"/>
                </a:lnTo>
                <a:lnTo>
                  <a:pt x="1195" y="2032"/>
                </a:lnTo>
                <a:lnTo>
                  <a:pt x="1202" y="2037"/>
                </a:lnTo>
                <a:lnTo>
                  <a:pt x="1208" y="2041"/>
                </a:lnTo>
                <a:lnTo>
                  <a:pt x="1214" y="2048"/>
                </a:lnTo>
                <a:lnTo>
                  <a:pt x="1218" y="2054"/>
                </a:lnTo>
                <a:lnTo>
                  <a:pt x="1223" y="2062"/>
                </a:lnTo>
                <a:lnTo>
                  <a:pt x="1226" y="2070"/>
                </a:lnTo>
                <a:lnTo>
                  <a:pt x="1229" y="2080"/>
                </a:lnTo>
                <a:lnTo>
                  <a:pt x="1232" y="2090"/>
                </a:lnTo>
                <a:lnTo>
                  <a:pt x="1233" y="2100"/>
                </a:lnTo>
                <a:lnTo>
                  <a:pt x="1234" y="2111"/>
                </a:lnTo>
                <a:lnTo>
                  <a:pt x="1235" y="2123"/>
                </a:lnTo>
                <a:lnTo>
                  <a:pt x="1235" y="2249"/>
                </a:lnTo>
                <a:lnTo>
                  <a:pt x="1180" y="2249"/>
                </a:lnTo>
                <a:lnTo>
                  <a:pt x="1180" y="2126"/>
                </a:lnTo>
                <a:lnTo>
                  <a:pt x="1180" y="2126"/>
                </a:lnTo>
                <a:lnTo>
                  <a:pt x="1179" y="2114"/>
                </a:lnTo>
                <a:lnTo>
                  <a:pt x="1178" y="2102"/>
                </a:lnTo>
                <a:lnTo>
                  <a:pt x="1174" y="2093"/>
                </a:lnTo>
                <a:lnTo>
                  <a:pt x="1170" y="2085"/>
                </a:lnTo>
                <a:lnTo>
                  <a:pt x="1164" y="2080"/>
                </a:lnTo>
                <a:lnTo>
                  <a:pt x="1158" y="2075"/>
                </a:lnTo>
                <a:lnTo>
                  <a:pt x="1149" y="2073"/>
                </a:lnTo>
                <a:lnTo>
                  <a:pt x="1139" y="2072"/>
                </a:lnTo>
                <a:lnTo>
                  <a:pt x="1139" y="2072"/>
                </a:lnTo>
                <a:lnTo>
                  <a:pt x="1130" y="2073"/>
                </a:lnTo>
                <a:lnTo>
                  <a:pt x="1121" y="2075"/>
                </a:lnTo>
                <a:lnTo>
                  <a:pt x="1114" y="2080"/>
                </a:lnTo>
                <a:lnTo>
                  <a:pt x="1108" y="2086"/>
                </a:lnTo>
                <a:lnTo>
                  <a:pt x="1104" y="2093"/>
                </a:lnTo>
                <a:lnTo>
                  <a:pt x="1100" y="2103"/>
                </a:lnTo>
                <a:lnTo>
                  <a:pt x="1098" y="2114"/>
                </a:lnTo>
                <a:lnTo>
                  <a:pt x="1097" y="2126"/>
                </a:lnTo>
                <a:lnTo>
                  <a:pt x="1097" y="2249"/>
                </a:lnTo>
                <a:close/>
                <a:moveTo>
                  <a:pt x="1408" y="2042"/>
                </a:moveTo>
                <a:lnTo>
                  <a:pt x="1408" y="2042"/>
                </a:lnTo>
                <a:lnTo>
                  <a:pt x="1403" y="2038"/>
                </a:lnTo>
                <a:lnTo>
                  <a:pt x="1397" y="2033"/>
                </a:lnTo>
                <a:lnTo>
                  <a:pt x="1392" y="2030"/>
                </a:lnTo>
                <a:lnTo>
                  <a:pt x="1385" y="2027"/>
                </a:lnTo>
                <a:lnTo>
                  <a:pt x="1378" y="2025"/>
                </a:lnTo>
                <a:lnTo>
                  <a:pt x="1372" y="2024"/>
                </a:lnTo>
                <a:lnTo>
                  <a:pt x="1365" y="2022"/>
                </a:lnTo>
                <a:lnTo>
                  <a:pt x="1359" y="2021"/>
                </a:lnTo>
                <a:lnTo>
                  <a:pt x="1359" y="2021"/>
                </a:lnTo>
                <a:lnTo>
                  <a:pt x="1349" y="2022"/>
                </a:lnTo>
                <a:lnTo>
                  <a:pt x="1340" y="2024"/>
                </a:lnTo>
                <a:lnTo>
                  <a:pt x="1331" y="2026"/>
                </a:lnTo>
                <a:lnTo>
                  <a:pt x="1322" y="2030"/>
                </a:lnTo>
                <a:lnTo>
                  <a:pt x="1314" y="2033"/>
                </a:lnTo>
                <a:lnTo>
                  <a:pt x="1308" y="2039"/>
                </a:lnTo>
                <a:lnTo>
                  <a:pt x="1301" y="2046"/>
                </a:lnTo>
                <a:lnTo>
                  <a:pt x="1295" y="2052"/>
                </a:lnTo>
                <a:lnTo>
                  <a:pt x="1289" y="2060"/>
                </a:lnTo>
                <a:lnTo>
                  <a:pt x="1285" y="2069"/>
                </a:lnTo>
                <a:lnTo>
                  <a:pt x="1280" y="2078"/>
                </a:lnTo>
                <a:lnTo>
                  <a:pt x="1277" y="2089"/>
                </a:lnTo>
                <a:lnTo>
                  <a:pt x="1275" y="2099"/>
                </a:lnTo>
                <a:lnTo>
                  <a:pt x="1273" y="2111"/>
                </a:lnTo>
                <a:lnTo>
                  <a:pt x="1271" y="2123"/>
                </a:lnTo>
                <a:lnTo>
                  <a:pt x="1271" y="2135"/>
                </a:lnTo>
                <a:lnTo>
                  <a:pt x="1271" y="2135"/>
                </a:lnTo>
                <a:lnTo>
                  <a:pt x="1271" y="2149"/>
                </a:lnTo>
                <a:lnTo>
                  <a:pt x="1273" y="2161"/>
                </a:lnTo>
                <a:lnTo>
                  <a:pt x="1275" y="2174"/>
                </a:lnTo>
                <a:lnTo>
                  <a:pt x="1277" y="2186"/>
                </a:lnTo>
                <a:lnTo>
                  <a:pt x="1280" y="2196"/>
                </a:lnTo>
                <a:lnTo>
                  <a:pt x="1285" y="2206"/>
                </a:lnTo>
                <a:lnTo>
                  <a:pt x="1289" y="2214"/>
                </a:lnTo>
                <a:lnTo>
                  <a:pt x="1295" y="2222"/>
                </a:lnTo>
                <a:lnTo>
                  <a:pt x="1300" y="2230"/>
                </a:lnTo>
                <a:lnTo>
                  <a:pt x="1307" y="2235"/>
                </a:lnTo>
                <a:lnTo>
                  <a:pt x="1313" y="2241"/>
                </a:lnTo>
                <a:lnTo>
                  <a:pt x="1321" y="2245"/>
                </a:lnTo>
                <a:lnTo>
                  <a:pt x="1330" y="2249"/>
                </a:lnTo>
                <a:lnTo>
                  <a:pt x="1339" y="2252"/>
                </a:lnTo>
                <a:lnTo>
                  <a:pt x="1348" y="2253"/>
                </a:lnTo>
                <a:lnTo>
                  <a:pt x="1357" y="2254"/>
                </a:lnTo>
                <a:lnTo>
                  <a:pt x="1357" y="2254"/>
                </a:lnTo>
                <a:lnTo>
                  <a:pt x="1364" y="2253"/>
                </a:lnTo>
                <a:lnTo>
                  <a:pt x="1372" y="2252"/>
                </a:lnTo>
                <a:lnTo>
                  <a:pt x="1378" y="2251"/>
                </a:lnTo>
                <a:lnTo>
                  <a:pt x="1385" y="2249"/>
                </a:lnTo>
                <a:lnTo>
                  <a:pt x="1391" y="2245"/>
                </a:lnTo>
                <a:lnTo>
                  <a:pt x="1397" y="2242"/>
                </a:lnTo>
                <a:lnTo>
                  <a:pt x="1403" y="2238"/>
                </a:lnTo>
                <a:lnTo>
                  <a:pt x="1408" y="2232"/>
                </a:lnTo>
                <a:lnTo>
                  <a:pt x="1408" y="2238"/>
                </a:lnTo>
                <a:lnTo>
                  <a:pt x="1408" y="2238"/>
                </a:lnTo>
                <a:lnTo>
                  <a:pt x="1408" y="2246"/>
                </a:lnTo>
                <a:lnTo>
                  <a:pt x="1407" y="2256"/>
                </a:lnTo>
                <a:lnTo>
                  <a:pt x="1404" y="2266"/>
                </a:lnTo>
                <a:lnTo>
                  <a:pt x="1402" y="2271"/>
                </a:lnTo>
                <a:lnTo>
                  <a:pt x="1399" y="2275"/>
                </a:lnTo>
                <a:lnTo>
                  <a:pt x="1395" y="2279"/>
                </a:lnTo>
                <a:lnTo>
                  <a:pt x="1391" y="2284"/>
                </a:lnTo>
                <a:lnTo>
                  <a:pt x="1385" y="2287"/>
                </a:lnTo>
                <a:lnTo>
                  <a:pt x="1378" y="2290"/>
                </a:lnTo>
                <a:lnTo>
                  <a:pt x="1370" y="2293"/>
                </a:lnTo>
                <a:lnTo>
                  <a:pt x="1361" y="2295"/>
                </a:lnTo>
                <a:lnTo>
                  <a:pt x="1350" y="2296"/>
                </a:lnTo>
                <a:lnTo>
                  <a:pt x="1337" y="2296"/>
                </a:lnTo>
                <a:lnTo>
                  <a:pt x="1334" y="2296"/>
                </a:lnTo>
                <a:lnTo>
                  <a:pt x="1354" y="2339"/>
                </a:lnTo>
                <a:lnTo>
                  <a:pt x="1355" y="2339"/>
                </a:lnTo>
                <a:lnTo>
                  <a:pt x="1355" y="2339"/>
                </a:lnTo>
                <a:lnTo>
                  <a:pt x="1369" y="2339"/>
                </a:lnTo>
                <a:lnTo>
                  <a:pt x="1381" y="2338"/>
                </a:lnTo>
                <a:lnTo>
                  <a:pt x="1392" y="2335"/>
                </a:lnTo>
                <a:lnTo>
                  <a:pt x="1403" y="2332"/>
                </a:lnTo>
                <a:lnTo>
                  <a:pt x="1413" y="2328"/>
                </a:lnTo>
                <a:lnTo>
                  <a:pt x="1421" y="2324"/>
                </a:lnTo>
                <a:lnTo>
                  <a:pt x="1429" y="2318"/>
                </a:lnTo>
                <a:lnTo>
                  <a:pt x="1436" y="2311"/>
                </a:lnTo>
                <a:lnTo>
                  <a:pt x="1442" y="2304"/>
                </a:lnTo>
                <a:lnTo>
                  <a:pt x="1448" y="2296"/>
                </a:lnTo>
                <a:lnTo>
                  <a:pt x="1452" y="2286"/>
                </a:lnTo>
                <a:lnTo>
                  <a:pt x="1456" y="2276"/>
                </a:lnTo>
                <a:lnTo>
                  <a:pt x="1459" y="2266"/>
                </a:lnTo>
                <a:lnTo>
                  <a:pt x="1461" y="2254"/>
                </a:lnTo>
                <a:lnTo>
                  <a:pt x="1462" y="2242"/>
                </a:lnTo>
                <a:lnTo>
                  <a:pt x="1462" y="2229"/>
                </a:lnTo>
                <a:lnTo>
                  <a:pt x="1462" y="2027"/>
                </a:lnTo>
                <a:lnTo>
                  <a:pt x="1408" y="2027"/>
                </a:lnTo>
                <a:lnTo>
                  <a:pt x="1408" y="2042"/>
                </a:lnTo>
                <a:close/>
                <a:moveTo>
                  <a:pt x="1408" y="2094"/>
                </a:moveTo>
                <a:lnTo>
                  <a:pt x="1408" y="2181"/>
                </a:lnTo>
                <a:lnTo>
                  <a:pt x="1408" y="2181"/>
                </a:lnTo>
                <a:lnTo>
                  <a:pt x="1401" y="2189"/>
                </a:lnTo>
                <a:lnTo>
                  <a:pt x="1393" y="2197"/>
                </a:lnTo>
                <a:lnTo>
                  <a:pt x="1387" y="2199"/>
                </a:lnTo>
                <a:lnTo>
                  <a:pt x="1382" y="2201"/>
                </a:lnTo>
                <a:lnTo>
                  <a:pt x="1376" y="2202"/>
                </a:lnTo>
                <a:lnTo>
                  <a:pt x="1369" y="2203"/>
                </a:lnTo>
                <a:lnTo>
                  <a:pt x="1369" y="2203"/>
                </a:lnTo>
                <a:lnTo>
                  <a:pt x="1362" y="2202"/>
                </a:lnTo>
                <a:lnTo>
                  <a:pt x="1354" y="2200"/>
                </a:lnTo>
                <a:lnTo>
                  <a:pt x="1348" y="2197"/>
                </a:lnTo>
                <a:lnTo>
                  <a:pt x="1341" y="2190"/>
                </a:lnTo>
                <a:lnTo>
                  <a:pt x="1335" y="2181"/>
                </a:lnTo>
                <a:lnTo>
                  <a:pt x="1331" y="2169"/>
                </a:lnTo>
                <a:lnTo>
                  <a:pt x="1329" y="2154"/>
                </a:lnTo>
                <a:lnTo>
                  <a:pt x="1328" y="2134"/>
                </a:lnTo>
                <a:lnTo>
                  <a:pt x="1328" y="2134"/>
                </a:lnTo>
                <a:lnTo>
                  <a:pt x="1329" y="2117"/>
                </a:lnTo>
                <a:lnTo>
                  <a:pt x="1331" y="2103"/>
                </a:lnTo>
                <a:lnTo>
                  <a:pt x="1335" y="2092"/>
                </a:lnTo>
                <a:lnTo>
                  <a:pt x="1341" y="2084"/>
                </a:lnTo>
                <a:lnTo>
                  <a:pt x="1348" y="2079"/>
                </a:lnTo>
                <a:lnTo>
                  <a:pt x="1354" y="2074"/>
                </a:lnTo>
                <a:lnTo>
                  <a:pt x="1362" y="2073"/>
                </a:lnTo>
                <a:lnTo>
                  <a:pt x="1369" y="2072"/>
                </a:lnTo>
                <a:lnTo>
                  <a:pt x="1369" y="2072"/>
                </a:lnTo>
                <a:lnTo>
                  <a:pt x="1376" y="2073"/>
                </a:lnTo>
                <a:lnTo>
                  <a:pt x="1383" y="2074"/>
                </a:lnTo>
                <a:lnTo>
                  <a:pt x="1388" y="2076"/>
                </a:lnTo>
                <a:lnTo>
                  <a:pt x="1394" y="2080"/>
                </a:lnTo>
                <a:lnTo>
                  <a:pt x="1398" y="2083"/>
                </a:lnTo>
                <a:lnTo>
                  <a:pt x="1402" y="2086"/>
                </a:lnTo>
                <a:lnTo>
                  <a:pt x="1408" y="2094"/>
                </a:lnTo>
                <a:lnTo>
                  <a:pt x="1408" y="2094"/>
                </a:lnTo>
                <a:close/>
                <a:moveTo>
                  <a:pt x="938" y="2027"/>
                </a:moveTo>
                <a:lnTo>
                  <a:pt x="993" y="2027"/>
                </a:lnTo>
                <a:lnTo>
                  <a:pt x="993" y="2123"/>
                </a:lnTo>
                <a:lnTo>
                  <a:pt x="993" y="2249"/>
                </a:lnTo>
                <a:lnTo>
                  <a:pt x="938" y="2249"/>
                </a:lnTo>
                <a:lnTo>
                  <a:pt x="938" y="2027"/>
                </a:lnTo>
                <a:close/>
                <a:moveTo>
                  <a:pt x="993" y="1967"/>
                </a:moveTo>
                <a:lnTo>
                  <a:pt x="993" y="1995"/>
                </a:lnTo>
                <a:lnTo>
                  <a:pt x="938" y="1995"/>
                </a:lnTo>
                <a:lnTo>
                  <a:pt x="938" y="1940"/>
                </a:lnTo>
                <a:lnTo>
                  <a:pt x="993" y="1940"/>
                </a:lnTo>
                <a:lnTo>
                  <a:pt x="993" y="1967"/>
                </a:lnTo>
                <a:close/>
                <a:moveTo>
                  <a:pt x="2309" y="1962"/>
                </a:moveTo>
                <a:lnTo>
                  <a:pt x="2364" y="1934"/>
                </a:lnTo>
                <a:lnTo>
                  <a:pt x="2364" y="2127"/>
                </a:lnTo>
                <a:lnTo>
                  <a:pt x="2364" y="2249"/>
                </a:lnTo>
                <a:lnTo>
                  <a:pt x="2309" y="2249"/>
                </a:lnTo>
                <a:lnTo>
                  <a:pt x="2309" y="1962"/>
                </a:lnTo>
                <a:close/>
                <a:moveTo>
                  <a:pt x="397" y="757"/>
                </a:moveTo>
                <a:lnTo>
                  <a:pt x="850" y="757"/>
                </a:lnTo>
                <a:lnTo>
                  <a:pt x="850" y="495"/>
                </a:lnTo>
                <a:lnTo>
                  <a:pt x="397" y="495"/>
                </a:lnTo>
                <a:lnTo>
                  <a:pt x="397" y="288"/>
                </a:lnTo>
                <a:lnTo>
                  <a:pt x="898" y="288"/>
                </a:lnTo>
                <a:lnTo>
                  <a:pt x="732" y="0"/>
                </a:lnTo>
                <a:lnTo>
                  <a:pt x="22" y="0"/>
                </a:lnTo>
                <a:lnTo>
                  <a:pt x="22" y="1251"/>
                </a:lnTo>
                <a:lnTo>
                  <a:pt x="1023" y="1251"/>
                </a:lnTo>
                <a:lnTo>
                  <a:pt x="1023" y="963"/>
                </a:lnTo>
                <a:lnTo>
                  <a:pt x="397" y="963"/>
                </a:lnTo>
                <a:lnTo>
                  <a:pt x="397" y="757"/>
                </a:lnTo>
                <a:close/>
                <a:moveTo>
                  <a:pt x="1690" y="0"/>
                </a:moveTo>
                <a:lnTo>
                  <a:pt x="1477" y="409"/>
                </a:lnTo>
                <a:lnTo>
                  <a:pt x="1265" y="0"/>
                </a:lnTo>
                <a:lnTo>
                  <a:pt x="850" y="0"/>
                </a:lnTo>
                <a:lnTo>
                  <a:pt x="1287" y="757"/>
                </a:lnTo>
                <a:lnTo>
                  <a:pt x="1287" y="1251"/>
                </a:lnTo>
                <a:lnTo>
                  <a:pt x="1661" y="1251"/>
                </a:lnTo>
                <a:lnTo>
                  <a:pt x="1661" y="757"/>
                </a:lnTo>
                <a:lnTo>
                  <a:pt x="2099" y="0"/>
                </a:lnTo>
                <a:lnTo>
                  <a:pt x="169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150370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" name="Graphic 84">
            <a:extLst>
              <a:ext uri="{FF2B5EF4-FFF2-40B4-BE49-F238E27FC236}">
                <a16:creationId xmlns:a16="http://schemas.microsoft.com/office/drawing/2014/main" id="{819BCB30-E1AA-4383-BEF0-0BE30C6425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9366" y="973088"/>
            <a:ext cx="4848024" cy="3933825"/>
          </a:xfrm>
          <a:prstGeom prst="rect">
            <a:avLst/>
          </a:prstGeom>
        </p:spPr>
      </p:pic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880" y="2158329"/>
            <a:ext cx="4000436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5072" y="3200329"/>
            <a:ext cx="4020628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77" name="Picture 12">
            <a:extLst>
              <a:ext uri="{FF2B5EF4-FFF2-40B4-BE49-F238E27FC236}">
                <a16:creationId xmlns:a16="http://schemas.microsoft.com/office/drawing/2014/main" id="{D061F083-9DE8-49D3-A577-1CFA00441EC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918063" y="6224737"/>
            <a:ext cx="663066" cy="458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1677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pect particulariz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9" descr="A red light on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322C9157-84F5-4C95-9DAF-EF9D06CEFA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34" b="7834"/>
          <a:stretch/>
        </p:blipFill>
        <p:spPr>
          <a:xfrm>
            <a:off x="0" y="-1"/>
            <a:ext cx="12198350" cy="6858001"/>
          </a:xfrm>
          <a:prstGeom prst="rect">
            <a:avLst/>
          </a:prstGeom>
        </p:spPr>
      </p:pic>
      <p:sp>
        <p:nvSpPr>
          <p:cNvPr id="2" name="Titlu 1">
            <a:extLst>
              <a:ext uri="{FF2B5EF4-FFF2-40B4-BE49-F238E27FC236}">
                <a16:creationId xmlns:a16="http://schemas.microsoft.com/office/drawing/2014/main" id="{9AD99799-2179-41F2-A4F2-2DFE179B02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o-RO"/>
              <a:t>Faceți clic pentru a edita stilul de titlu coordonator</a:t>
            </a:r>
            <a:endParaRPr lang="en-US"/>
          </a:p>
        </p:txBody>
      </p:sp>
      <p:sp>
        <p:nvSpPr>
          <p:cNvPr id="3" name="Substituent dată 2">
            <a:extLst>
              <a:ext uri="{FF2B5EF4-FFF2-40B4-BE49-F238E27FC236}">
                <a16:creationId xmlns:a16="http://schemas.microsoft.com/office/drawing/2014/main" id="{A4A5972A-DEDB-4BE8-A567-6244C17E15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05BAC6-7084-4B5E-A926-4CA635F89C64}" type="datetime3">
              <a:rPr lang="en-US" smtClean="0"/>
              <a:t>16 September 2022</a:t>
            </a:fld>
            <a:endParaRPr lang="en-IN" dirty="0"/>
          </a:p>
        </p:txBody>
      </p:sp>
      <p:sp>
        <p:nvSpPr>
          <p:cNvPr id="4" name="Substituent subsol 3">
            <a:extLst>
              <a:ext uri="{FF2B5EF4-FFF2-40B4-BE49-F238E27FC236}">
                <a16:creationId xmlns:a16="http://schemas.microsoft.com/office/drawing/2014/main" id="{3DE4B1AF-4B9F-42E7-A1B1-7258E6D89F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5" name="Substituent număr diapozitiv 4">
            <a:extLst>
              <a:ext uri="{FF2B5EF4-FFF2-40B4-BE49-F238E27FC236}">
                <a16:creationId xmlns:a16="http://schemas.microsoft.com/office/drawing/2014/main" id="{A5FA55BE-575D-420C-A713-C525876FF9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pic>
        <p:nvPicPr>
          <p:cNvPr id="7" name="Picture 12">
            <a:extLst>
              <a:ext uri="{FF2B5EF4-FFF2-40B4-BE49-F238E27FC236}">
                <a16:creationId xmlns:a16="http://schemas.microsoft.com/office/drawing/2014/main" id="{EF669026-3770-4DC2-9179-0E7A103BA4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918063" y="6224737"/>
            <a:ext cx="663066" cy="458198"/>
          </a:xfrm>
          <a:prstGeom prst="rect">
            <a:avLst/>
          </a:prstGeom>
        </p:spPr>
      </p:pic>
      <p:sp>
        <p:nvSpPr>
          <p:cNvPr id="8" name="Line 10">
            <a:extLst>
              <a:ext uri="{FF2B5EF4-FFF2-40B4-BE49-F238E27FC236}">
                <a16:creationId xmlns:a16="http://schemas.microsoft.com/office/drawing/2014/main" id="{98E1F06D-18EE-4188-8928-874D75203309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8149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8806A2-2AA7-4EC7-8FA5-6DD8E9FC1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B14021-CB4E-4A4F-8709-D33FAB29C8FB}" type="datetime3">
              <a:rPr lang="en-US" smtClean="0"/>
              <a:t>16 September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93965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FB00D5A9-9C03-405D-97E2-3EBE5C59F9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6917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FB00D5A9-9C03-405D-97E2-3EBE5C59F9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 vert="horz"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" name="Rectangle 34">
            <a:extLst>
              <a:ext uri="{FF2B5EF4-FFF2-40B4-BE49-F238E27FC236}">
                <a16:creationId xmlns:a16="http://schemas.microsoft.com/office/drawing/2014/main" id="{3CA8B167-89DC-46B2-BC7B-EA71C27A037D}"/>
              </a:ext>
            </a:extLst>
          </p:cNvPr>
          <p:cNvSpPr/>
          <p:nvPr userDrawn="1"/>
        </p:nvSpPr>
        <p:spPr>
          <a:xfrm>
            <a:off x="3258695" y="0"/>
            <a:ext cx="2270715" cy="6858000"/>
          </a:xfrm>
          <a:prstGeom prst="rect">
            <a:avLst/>
          </a:prstGeom>
          <a:gradFill flip="none" rotWithShape="1">
            <a:gsLst>
              <a:gs pos="0">
                <a:srgbClr val="606060">
                  <a:lumMod val="0"/>
                  <a:lumOff val="100000"/>
                  <a:alpha val="0"/>
                </a:srgbClr>
              </a:gs>
              <a:gs pos="44000">
                <a:srgbClr val="2E2E38">
                  <a:alpha val="7000"/>
                </a:srgbClr>
              </a:gs>
              <a:gs pos="100000">
                <a:srgbClr val="2E2E38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8806A2-2AA7-4EC7-8FA5-6DD8E9FC1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B14021-CB4E-4A4F-8709-D33FAB29C8FB}" type="datetime3">
              <a:rPr lang="en-US" smtClean="0"/>
              <a:t>16 September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C5F387F-0A77-424D-88D8-FFE5F0CA22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B16D23AE-EB97-40E9-8C0C-06A9EDE94E1D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33636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384460" cy="6857999"/>
          </a:xfrm>
        </p:spPr>
        <p:txBody>
          <a:bodyPr/>
          <a:lstStyle/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5293" y="1137921"/>
            <a:ext cx="2742882" cy="5018184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7083" y="1137921"/>
            <a:ext cx="2803842" cy="5018184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 userDrawn="1">
            <p:ph idx="12" hasCustomPrompt="1"/>
          </p:nvPr>
        </p:nvSpPr>
        <p:spPr>
          <a:xfrm>
            <a:off x="8819832" y="1137921"/>
            <a:ext cx="2768600" cy="2796151"/>
          </a:xfrm>
        </p:spPr>
        <p:txBody>
          <a:bodyPr numCol="1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56616" indent="0">
              <a:buNone/>
              <a:defRPr sz="1800">
                <a:solidFill>
                  <a:schemeClr val="bg1"/>
                </a:solidFill>
              </a:defRPr>
            </a:lvl2pPr>
            <a:lvl3pPr marL="713232" indent="0">
              <a:buNone/>
              <a:defRPr sz="1600">
                <a:solidFill>
                  <a:schemeClr val="bg1"/>
                </a:solidFill>
              </a:defRPr>
            </a:lvl3pPr>
            <a:lvl4pPr marL="1069848" indent="0">
              <a:buNone/>
              <a:defRPr sz="1400">
                <a:solidFill>
                  <a:schemeClr val="bg1"/>
                </a:solidFill>
              </a:defRPr>
            </a:lvl4pPr>
            <a:lvl5pPr marL="1426464" indent="0"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2695294" y="907750"/>
            <a:ext cx="8892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7DDD53-DA5D-4F66-8EAA-913A40461E30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2FB67F6-71E2-4CE9-9767-63F7E639F73F}" type="datetime3">
              <a:rPr lang="en-US" smtClean="0"/>
              <a:t>16 September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9A18168-B280-402E-8310-35BC958D39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7D562B9-5194-4705-ABBD-89576E2CC7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280467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8806A2-2AA7-4EC7-8FA5-6DD8E9FC1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B14021-CB4E-4A4F-8709-D33FAB29C8FB}" type="datetime3">
              <a:rPr lang="en-US" smtClean="0"/>
              <a:t>16 September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56F6B4-9E49-490D-8FE1-DB9035090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C35AEC-478D-4BBF-9883-4CE09EB36A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pic>
        <p:nvPicPr>
          <p:cNvPr id="11" name="Picture 12">
            <a:extLst>
              <a:ext uri="{FF2B5EF4-FFF2-40B4-BE49-F238E27FC236}">
                <a16:creationId xmlns:a16="http://schemas.microsoft.com/office/drawing/2014/main" id="{0D2D27BC-827B-410E-8D08-612EE9E618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918063" y="6224737"/>
            <a:ext cx="663066" cy="458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2582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800" y="2851522"/>
            <a:ext cx="4447800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600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616" marR="0" lvl="0" indent="-356616" defTabSz="1007887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84443D1-37A3-4969-A6D3-4E99E05604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C1498488-8765-4B8D-9D72-8E71718AE3EF}" type="datetime3">
              <a:rPr lang="en-US" smtClean="0"/>
              <a:t>16 September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AB04F4-59F4-4102-9BBD-DB62B48E184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99AB0A-887B-46B8-BA72-781970F002C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937044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917" y="1137920"/>
            <a:ext cx="4957505" cy="4267457"/>
          </a:xfrm>
        </p:spPr>
        <p:txBody>
          <a:bodyPr/>
          <a:lstStyle/>
          <a:p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33461" y="3813288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33461" y="405593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23007" y="3578083"/>
            <a:ext cx="778959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23008" y="1137920"/>
            <a:ext cx="546542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23008" y="1635009"/>
            <a:ext cx="5465425" cy="1611554"/>
          </a:xfrm>
        </p:spPr>
        <p:txBody>
          <a:bodyPr/>
          <a:lstStyle>
            <a:lvl1pPr marL="0" indent="0">
              <a:buNone/>
              <a:defRPr sz="1600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609918" y="907750"/>
            <a:ext cx="10980000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822E28-B24F-4CF6-8F50-70ED7C22A11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30B5B11-3029-4BDF-9283-90F5215BC815}" type="datetime3">
              <a:rPr lang="en-US" smtClean="0"/>
              <a:t>16 September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65E1CD-A05B-41DC-B488-E4BA204E7AE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16ABDB-CF45-4001-9487-F3BA3DD8DAC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331009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520F7E7-3608-4A39-8860-ECDA66F64B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669076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592" imgH="595" progId="TCLayout.ActiveDocument.1">
                  <p:embed/>
                </p:oleObj>
              </mc:Choice>
              <mc:Fallback>
                <p:oleObj name="think-cell Slide" r:id="rId12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520F7E7-3608-4A39-8860-ECDA66F64B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18" y="1137920"/>
            <a:ext cx="10978515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00772EA-C6B0-4F5D-AA59-01C0858EFAD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928" y="6471244"/>
            <a:ext cx="1191258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CD05BAC6-7084-4B5E-A926-4CA635F89C64}" type="datetime3">
              <a:rPr lang="en-US" smtClean="0"/>
              <a:t>16 September 2022</a:t>
            </a:fld>
            <a:endParaRPr lang="en-IN" dirty="0"/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AC28FA70-87E4-49F4-AFDE-345AA28E0B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188" y="6471244"/>
            <a:ext cx="30861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B540F9A-D485-4BD0-B905-41F8A52593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7221" y="6471244"/>
            <a:ext cx="663066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l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GB" dirty="0"/>
              <a:t>Page </a:t>
            </a:r>
            <a:fld id="{F1BC30E3-FFE5-4B91-AA19-87A149EBB9EE}" type="slidenum">
              <a:rPr smtClean="0"/>
              <a:pPr/>
              <a:t>‹#›</a:t>
            </a:fld>
            <a:endParaRPr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2C5848-E554-B03B-C3B8-A4DC60BE69F9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918063" y="6224737"/>
            <a:ext cx="663066" cy="458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9714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826" r:id="rId2"/>
    <p:sldLayoutId id="2147483894" r:id="rId3"/>
    <p:sldLayoutId id="2147483827" r:id="rId4"/>
    <p:sldLayoutId id="2147483891" r:id="rId5"/>
    <p:sldLayoutId id="2147483893" r:id="rId6"/>
    <p:sldLayoutId id="2147483892" r:id="rId7"/>
    <p:sldLayoutId id="2147483877" r:id="rId8"/>
    <p:sldLayoutId id="2147483871" r:id="rId9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616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3232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848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6464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3080" indent="-356616" algn="l" defTabSz="914400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7.jp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oleObject" Target="../embeddings/oleObject6.bin"/><Relationship Id="rId7" Type="http://schemas.openxmlformats.org/officeDocument/2006/relationships/image" Target="../media/image12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26" Type="http://schemas.openxmlformats.org/officeDocument/2006/relationships/tags" Target="../tags/tag33.xml"/><Relationship Id="rId39" Type="http://schemas.openxmlformats.org/officeDocument/2006/relationships/tags" Target="../tags/tag46.xml"/><Relationship Id="rId21" Type="http://schemas.openxmlformats.org/officeDocument/2006/relationships/tags" Target="../tags/tag28.xml"/><Relationship Id="rId34" Type="http://schemas.openxmlformats.org/officeDocument/2006/relationships/tags" Target="../tags/tag41.xml"/><Relationship Id="rId42" Type="http://schemas.openxmlformats.org/officeDocument/2006/relationships/tags" Target="../tags/tag49.xml"/><Relationship Id="rId47" Type="http://schemas.openxmlformats.org/officeDocument/2006/relationships/tags" Target="../tags/tag54.xml"/><Relationship Id="rId50" Type="http://schemas.openxmlformats.org/officeDocument/2006/relationships/tags" Target="../tags/tag57.xml"/><Relationship Id="rId55" Type="http://schemas.openxmlformats.org/officeDocument/2006/relationships/tags" Target="../tags/tag62.xml"/><Relationship Id="rId63" Type="http://schemas.openxmlformats.org/officeDocument/2006/relationships/tags" Target="../tags/tag70.xml"/><Relationship Id="rId68" Type="http://schemas.openxmlformats.org/officeDocument/2006/relationships/tags" Target="../tags/tag75.xml"/><Relationship Id="rId76" Type="http://schemas.openxmlformats.org/officeDocument/2006/relationships/tags" Target="../tags/tag83.xml"/><Relationship Id="rId84" Type="http://schemas.openxmlformats.org/officeDocument/2006/relationships/oleObject" Target="../embeddings/oleObject7.bin"/><Relationship Id="rId7" Type="http://schemas.openxmlformats.org/officeDocument/2006/relationships/tags" Target="../tags/tag14.xml"/><Relationship Id="rId71" Type="http://schemas.openxmlformats.org/officeDocument/2006/relationships/tags" Target="../tags/tag78.xml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9" Type="http://schemas.openxmlformats.org/officeDocument/2006/relationships/tags" Target="../tags/tag36.xml"/><Relationship Id="rId11" Type="http://schemas.openxmlformats.org/officeDocument/2006/relationships/tags" Target="../tags/tag18.xml"/><Relationship Id="rId24" Type="http://schemas.openxmlformats.org/officeDocument/2006/relationships/tags" Target="../tags/tag31.xml"/><Relationship Id="rId32" Type="http://schemas.openxmlformats.org/officeDocument/2006/relationships/tags" Target="../tags/tag39.xml"/><Relationship Id="rId37" Type="http://schemas.openxmlformats.org/officeDocument/2006/relationships/tags" Target="../tags/tag44.xml"/><Relationship Id="rId40" Type="http://schemas.openxmlformats.org/officeDocument/2006/relationships/tags" Target="../tags/tag47.xml"/><Relationship Id="rId45" Type="http://schemas.openxmlformats.org/officeDocument/2006/relationships/tags" Target="../tags/tag52.xml"/><Relationship Id="rId53" Type="http://schemas.openxmlformats.org/officeDocument/2006/relationships/tags" Target="../tags/tag60.xml"/><Relationship Id="rId58" Type="http://schemas.openxmlformats.org/officeDocument/2006/relationships/tags" Target="../tags/tag65.xml"/><Relationship Id="rId66" Type="http://schemas.openxmlformats.org/officeDocument/2006/relationships/tags" Target="../tags/tag73.xml"/><Relationship Id="rId74" Type="http://schemas.openxmlformats.org/officeDocument/2006/relationships/tags" Target="../tags/tag81.xml"/><Relationship Id="rId79" Type="http://schemas.openxmlformats.org/officeDocument/2006/relationships/tags" Target="../tags/tag86.xml"/><Relationship Id="rId87" Type="http://schemas.openxmlformats.org/officeDocument/2006/relationships/chart" Target="../charts/chart1.xml"/><Relationship Id="rId5" Type="http://schemas.openxmlformats.org/officeDocument/2006/relationships/tags" Target="../tags/tag12.xml"/><Relationship Id="rId61" Type="http://schemas.openxmlformats.org/officeDocument/2006/relationships/tags" Target="../tags/tag68.xml"/><Relationship Id="rId82" Type="http://schemas.openxmlformats.org/officeDocument/2006/relationships/tags" Target="../tags/tag89.xml"/><Relationship Id="rId19" Type="http://schemas.openxmlformats.org/officeDocument/2006/relationships/tags" Target="../tags/tag26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tags" Target="../tags/tag29.xml"/><Relationship Id="rId27" Type="http://schemas.openxmlformats.org/officeDocument/2006/relationships/tags" Target="../tags/tag34.xml"/><Relationship Id="rId30" Type="http://schemas.openxmlformats.org/officeDocument/2006/relationships/tags" Target="../tags/tag37.xml"/><Relationship Id="rId35" Type="http://schemas.openxmlformats.org/officeDocument/2006/relationships/tags" Target="../tags/tag42.xml"/><Relationship Id="rId43" Type="http://schemas.openxmlformats.org/officeDocument/2006/relationships/tags" Target="../tags/tag50.xml"/><Relationship Id="rId48" Type="http://schemas.openxmlformats.org/officeDocument/2006/relationships/tags" Target="../tags/tag55.xml"/><Relationship Id="rId56" Type="http://schemas.openxmlformats.org/officeDocument/2006/relationships/tags" Target="../tags/tag63.xml"/><Relationship Id="rId64" Type="http://schemas.openxmlformats.org/officeDocument/2006/relationships/tags" Target="../tags/tag71.xml"/><Relationship Id="rId69" Type="http://schemas.openxmlformats.org/officeDocument/2006/relationships/tags" Target="../tags/tag76.xml"/><Relationship Id="rId77" Type="http://schemas.openxmlformats.org/officeDocument/2006/relationships/tags" Target="../tags/tag84.xml"/><Relationship Id="rId8" Type="http://schemas.openxmlformats.org/officeDocument/2006/relationships/tags" Target="../tags/tag15.xml"/><Relationship Id="rId51" Type="http://schemas.openxmlformats.org/officeDocument/2006/relationships/tags" Target="../tags/tag58.xml"/><Relationship Id="rId72" Type="http://schemas.openxmlformats.org/officeDocument/2006/relationships/tags" Target="../tags/tag79.xml"/><Relationship Id="rId80" Type="http://schemas.openxmlformats.org/officeDocument/2006/relationships/tags" Target="../tags/tag87.xml"/><Relationship Id="rId85" Type="http://schemas.openxmlformats.org/officeDocument/2006/relationships/image" Target="../media/image1.emf"/><Relationship Id="rId3" Type="http://schemas.openxmlformats.org/officeDocument/2006/relationships/tags" Target="../tags/tag10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5" Type="http://schemas.openxmlformats.org/officeDocument/2006/relationships/tags" Target="../tags/tag32.xml"/><Relationship Id="rId33" Type="http://schemas.openxmlformats.org/officeDocument/2006/relationships/tags" Target="../tags/tag40.xml"/><Relationship Id="rId38" Type="http://schemas.openxmlformats.org/officeDocument/2006/relationships/tags" Target="../tags/tag45.xml"/><Relationship Id="rId46" Type="http://schemas.openxmlformats.org/officeDocument/2006/relationships/tags" Target="../tags/tag53.xml"/><Relationship Id="rId59" Type="http://schemas.openxmlformats.org/officeDocument/2006/relationships/tags" Target="../tags/tag66.xml"/><Relationship Id="rId67" Type="http://schemas.openxmlformats.org/officeDocument/2006/relationships/tags" Target="../tags/tag74.xml"/><Relationship Id="rId20" Type="http://schemas.openxmlformats.org/officeDocument/2006/relationships/tags" Target="../tags/tag27.xml"/><Relationship Id="rId41" Type="http://schemas.openxmlformats.org/officeDocument/2006/relationships/tags" Target="../tags/tag48.xml"/><Relationship Id="rId54" Type="http://schemas.openxmlformats.org/officeDocument/2006/relationships/tags" Target="../tags/tag61.xml"/><Relationship Id="rId62" Type="http://schemas.openxmlformats.org/officeDocument/2006/relationships/tags" Target="../tags/tag69.xml"/><Relationship Id="rId70" Type="http://schemas.openxmlformats.org/officeDocument/2006/relationships/tags" Target="../tags/tag77.xml"/><Relationship Id="rId75" Type="http://schemas.openxmlformats.org/officeDocument/2006/relationships/tags" Target="../tags/tag82.xml"/><Relationship Id="rId83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5" Type="http://schemas.openxmlformats.org/officeDocument/2006/relationships/tags" Target="../tags/tag22.xml"/><Relationship Id="rId23" Type="http://schemas.openxmlformats.org/officeDocument/2006/relationships/tags" Target="../tags/tag30.xml"/><Relationship Id="rId28" Type="http://schemas.openxmlformats.org/officeDocument/2006/relationships/tags" Target="../tags/tag35.xml"/><Relationship Id="rId36" Type="http://schemas.openxmlformats.org/officeDocument/2006/relationships/tags" Target="../tags/tag43.xml"/><Relationship Id="rId49" Type="http://schemas.openxmlformats.org/officeDocument/2006/relationships/tags" Target="../tags/tag56.xml"/><Relationship Id="rId57" Type="http://schemas.openxmlformats.org/officeDocument/2006/relationships/tags" Target="../tags/tag64.xml"/><Relationship Id="rId10" Type="http://schemas.openxmlformats.org/officeDocument/2006/relationships/tags" Target="../tags/tag17.xml"/><Relationship Id="rId31" Type="http://schemas.openxmlformats.org/officeDocument/2006/relationships/tags" Target="../tags/tag38.xml"/><Relationship Id="rId44" Type="http://schemas.openxmlformats.org/officeDocument/2006/relationships/tags" Target="../tags/tag51.xml"/><Relationship Id="rId52" Type="http://schemas.openxmlformats.org/officeDocument/2006/relationships/tags" Target="../tags/tag59.xml"/><Relationship Id="rId60" Type="http://schemas.openxmlformats.org/officeDocument/2006/relationships/tags" Target="../tags/tag67.xml"/><Relationship Id="rId65" Type="http://schemas.openxmlformats.org/officeDocument/2006/relationships/tags" Target="../tags/tag72.xml"/><Relationship Id="rId73" Type="http://schemas.openxmlformats.org/officeDocument/2006/relationships/tags" Target="../tags/tag80.xml"/><Relationship Id="rId78" Type="http://schemas.openxmlformats.org/officeDocument/2006/relationships/tags" Target="../tags/tag85.xml"/><Relationship Id="rId81" Type="http://schemas.openxmlformats.org/officeDocument/2006/relationships/tags" Target="../tags/tag88.xml"/><Relationship Id="rId86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oleObject" Target="../embeddings/oleObject8.bin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90.xml"/><Relationship Id="rId6" Type="http://schemas.openxmlformats.org/officeDocument/2006/relationships/image" Target="../media/image16.png"/><Relationship Id="rId5" Type="http://schemas.openxmlformats.org/officeDocument/2006/relationships/image" Target="../media/image15.jp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DA3F1A0-B3EA-4AD6-B31E-F62DEB41A3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6490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DA3F1A0-B3EA-4AD6-B31E-F62DEB41A3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4DFCAE7C-2A8B-4014-ABEC-DE7E5330D78C}"/>
              </a:ext>
            </a:extLst>
          </p:cNvPr>
          <p:cNvGrpSpPr/>
          <p:nvPr/>
        </p:nvGrpSpPr>
        <p:grpSpPr>
          <a:xfrm>
            <a:off x="-1145" y="0"/>
            <a:ext cx="12199495" cy="6858000"/>
            <a:chOff x="-1145" y="0"/>
            <a:chExt cx="12199495" cy="6858000"/>
          </a:xfrm>
        </p:grpSpPr>
        <p:pic>
          <p:nvPicPr>
            <p:cNvPr id="14" name="Picture 13" descr="A picture containing star, night, outdoor object, night sky&#10;&#10;Description automatically generated">
              <a:extLst>
                <a:ext uri="{FF2B5EF4-FFF2-40B4-BE49-F238E27FC236}">
                  <a16:creationId xmlns:a16="http://schemas.microsoft.com/office/drawing/2014/main" id="{3D698E44-5350-4AED-83ED-A4F90F1C0B1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8991"/>
            <a:stretch/>
          </p:blipFill>
          <p:spPr>
            <a:xfrm flipH="1">
              <a:off x="-1145" y="0"/>
              <a:ext cx="1342231" cy="6858000"/>
            </a:xfrm>
            <a:prstGeom prst="rect">
              <a:avLst/>
            </a:prstGeom>
          </p:spPr>
        </p:pic>
        <p:pic>
          <p:nvPicPr>
            <p:cNvPr id="9" name="Picture 8" descr="A picture containing star, night, outdoor object, night sky&#10;&#10;Description automatically generated">
              <a:extLst>
                <a:ext uri="{FF2B5EF4-FFF2-40B4-BE49-F238E27FC236}">
                  <a16:creationId xmlns:a16="http://schemas.microsoft.com/office/drawing/2014/main" id="{5AF7836B-B3DF-4EC9-9D1F-9467A7453BD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948"/>
            <a:stretch/>
          </p:blipFill>
          <p:spPr>
            <a:xfrm flipH="1">
              <a:off x="1341087" y="0"/>
              <a:ext cx="10857263" cy="6858000"/>
            </a:xfrm>
            <a:prstGeom prst="rect">
              <a:avLst/>
            </a:prstGeom>
          </p:spPr>
        </p:pic>
      </p:grpSp>
      <p:sp>
        <p:nvSpPr>
          <p:cNvPr id="11" name="Freeform 56">
            <a:extLst>
              <a:ext uri="{FF2B5EF4-FFF2-40B4-BE49-F238E27FC236}">
                <a16:creationId xmlns:a16="http://schemas.microsoft.com/office/drawing/2014/main" id="{C90B9D12-337E-43AE-83F0-BC5C6AA208CF}"/>
              </a:ext>
            </a:extLst>
          </p:cNvPr>
          <p:cNvSpPr/>
          <p:nvPr/>
        </p:nvSpPr>
        <p:spPr>
          <a:xfrm>
            <a:off x="498115" y="907800"/>
            <a:ext cx="4930412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 5">
            <a:extLst>
              <a:ext uri="{FF2B5EF4-FFF2-40B4-BE49-F238E27FC236}">
                <a16:creationId xmlns:a16="http://schemas.microsoft.com/office/drawing/2014/main" id="{E061DA4D-E51B-4035-8987-11EEA0DB9C49}"/>
              </a:ext>
            </a:extLst>
          </p:cNvPr>
          <p:cNvSpPr>
            <a:spLocks/>
          </p:cNvSpPr>
          <p:nvPr/>
        </p:nvSpPr>
        <p:spPr bwMode="auto">
          <a:xfrm>
            <a:off x="10364788" y="4960938"/>
            <a:ext cx="982663" cy="358775"/>
          </a:xfrm>
          <a:custGeom>
            <a:avLst/>
            <a:gdLst>
              <a:gd name="T0" fmla="*/ 2473 w 2473"/>
              <a:gd name="T1" fmla="*/ 0 h 902"/>
              <a:gd name="T2" fmla="*/ 0 w 2473"/>
              <a:gd name="T3" fmla="*/ 902 h 902"/>
              <a:gd name="T4" fmla="*/ 2473 w 2473"/>
              <a:gd name="T5" fmla="*/ 466 h 902"/>
              <a:gd name="T6" fmla="*/ 2473 w 2473"/>
              <a:gd name="T7" fmla="*/ 0 h 9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473" h="902">
                <a:moveTo>
                  <a:pt x="2473" y="0"/>
                </a:moveTo>
                <a:lnTo>
                  <a:pt x="0" y="902"/>
                </a:lnTo>
                <a:lnTo>
                  <a:pt x="2473" y="466"/>
                </a:lnTo>
                <a:lnTo>
                  <a:pt x="2473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13" name="Freeform 6">
            <a:extLst>
              <a:ext uri="{FF2B5EF4-FFF2-40B4-BE49-F238E27FC236}">
                <a16:creationId xmlns:a16="http://schemas.microsoft.com/office/drawing/2014/main" id="{17875EEF-F3F9-42CD-8361-C7DAF8D22F7B}"/>
              </a:ext>
            </a:extLst>
          </p:cNvPr>
          <p:cNvSpPr>
            <a:spLocks noEditPoints="1"/>
          </p:cNvSpPr>
          <p:nvPr/>
        </p:nvSpPr>
        <p:spPr bwMode="auto">
          <a:xfrm>
            <a:off x="10364788" y="5467351"/>
            <a:ext cx="1225550" cy="928688"/>
          </a:xfrm>
          <a:custGeom>
            <a:avLst/>
            <a:gdLst>
              <a:gd name="T0" fmla="*/ 233 w 3088"/>
              <a:gd name="T1" fmla="*/ 1588 h 2339"/>
              <a:gd name="T2" fmla="*/ 253 w 3088"/>
              <a:gd name="T3" fmla="*/ 1795 h 2339"/>
              <a:gd name="T4" fmla="*/ 151 w 3088"/>
              <a:gd name="T5" fmla="*/ 1810 h 2339"/>
              <a:gd name="T6" fmla="*/ 351 w 3088"/>
              <a:gd name="T7" fmla="*/ 1761 h 2339"/>
              <a:gd name="T8" fmla="*/ 416 w 3088"/>
              <a:gd name="T9" fmla="*/ 1857 h 2339"/>
              <a:gd name="T10" fmla="*/ 1140 w 3088"/>
              <a:gd name="T11" fmla="*/ 1652 h 2339"/>
              <a:gd name="T12" fmla="*/ 1216 w 3088"/>
              <a:gd name="T13" fmla="*/ 1738 h 2339"/>
              <a:gd name="T14" fmla="*/ 696 w 3088"/>
              <a:gd name="T15" fmla="*/ 1546 h 2339"/>
              <a:gd name="T16" fmla="*/ 738 w 3088"/>
              <a:gd name="T17" fmla="*/ 1710 h 2339"/>
              <a:gd name="T18" fmla="*/ 860 w 3088"/>
              <a:gd name="T19" fmla="*/ 1854 h 2339"/>
              <a:gd name="T20" fmla="*/ 832 w 3088"/>
              <a:gd name="T21" fmla="*/ 1684 h 2339"/>
              <a:gd name="T22" fmla="*/ 2021 w 3088"/>
              <a:gd name="T23" fmla="*/ 1860 h 2339"/>
              <a:gd name="T24" fmla="*/ 2158 w 3088"/>
              <a:gd name="T25" fmla="*/ 1747 h 2339"/>
              <a:gd name="T26" fmla="*/ 2100 w 3088"/>
              <a:gd name="T27" fmla="*/ 1730 h 2339"/>
              <a:gd name="T28" fmla="*/ 2059 w 3088"/>
              <a:gd name="T29" fmla="*/ 1684 h 2339"/>
              <a:gd name="T30" fmla="*/ 1309 w 3088"/>
              <a:gd name="T31" fmla="*/ 1734 h 2339"/>
              <a:gd name="T32" fmla="*/ 1445 w 3088"/>
              <a:gd name="T33" fmla="*/ 1844 h 2339"/>
              <a:gd name="T34" fmla="*/ 1473 w 3088"/>
              <a:gd name="T35" fmla="*/ 1923 h 2339"/>
              <a:gd name="T36" fmla="*/ 1369 w 3088"/>
              <a:gd name="T37" fmla="*/ 1781 h 2339"/>
              <a:gd name="T38" fmla="*/ 1727 w 3088"/>
              <a:gd name="T39" fmla="*/ 1677 h 2339"/>
              <a:gd name="T40" fmla="*/ 1632 w 3088"/>
              <a:gd name="T41" fmla="*/ 1778 h 2339"/>
              <a:gd name="T42" fmla="*/ 1822 w 3088"/>
              <a:gd name="T43" fmla="*/ 1710 h 2339"/>
              <a:gd name="T44" fmla="*/ 1686 w 3088"/>
              <a:gd name="T45" fmla="*/ 1786 h 2339"/>
              <a:gd name="T46" fmla="*/ 1708 w 3088"/>
              <a:gd name="T47" fmla="*/ 1817 h 2339"/>
              <a:gd name="T48" fmla="*/ 2240 w 3088"/>
              <a:gd name="T49" fmla="*/ 1766 h 2339"/>
              <a:gd name="T50" fmla="*/ 2227 w 3088"/>
              <a:gd name="T51" fmla="*/ 1653 h 2339"/>
              <a:gd name="T52" fmla="*/ 2290 w 3088"/>
              <a:gd name="T53" fmla="*/ 1866 h 2339"/>
              <a:gd name="T54" fmla="*/ 2321 w 3088"/>
              <a:gd name="T55" fmla="*/ 1709 h 2339"/>
              <a:gd name="T56" fmla="*/ 2908 w 3088"/>
              <a:gd name="T57" fmla="*/ 1750 h 2339"/>
              <a:gd name="T58" fmla="*/ 2730 w 3088"/>
              <a:gd name="T59" fmla="*/ 1683 h 2339"/>
              <a:gd name="T60" fmla="*/ 2852 w 3088"/>
              <a:gd name="T61" fmla="*/ 1860 h 2339"/>
              <a:gd name="T62" fmla="*/ 2639 w 3088"/>
              <a:gd name="T63" fmla="*/ 1783 h 2339"/>
              <a:gd name="T64" fmla="*/ 2605 w 3088"/>
              <a:gd name="T65" fmla="*/ 1853 h 2339"/>
              <a:gd name="T66" fmla="*/ 2464 w 3088"/>
              <a:gd name="T67" fmla="*/ 1861 h 2339"/>
              <a:gd name="T68" fmla="*/ 2495 w 3088"/>
              <a:gd name="T69" fmla="*/ 1812 h 2339"/>
              <a:gd name="T70" fmla="*/ 2998 w 3088"/>
              <a:gd name="T71" fmla="*/ 1639 h 2339"/>
              <a:gd name="T72" fmla="*/ 975 w 3088"/>
              <a:gd name="T73" fmla="*/ 1860 h 2339"/>
              <a:gd name="T74" fmla="*/ 2416 w 3088"/>
              <a:gd name="T75" fmla="*/ 2069 h 2339"/>
              <a:gd name="T76" fmla="*/ 2510 w 3088"/>
              <a:gd name="T77" fmla="*/ 2251 h 2339"/>
              <a:gd name="T78" fmla="*/ 2485 w 3088"/>
              <a:gd name="T79" fmla="*/ 2074 h 2339"/>
              <a:gd name="T80" fmla="*/ 627 w 3088"/>
              <a:gd name="T81" fmla="*/ 2078 h 2339"/>
              <a:gd name="T82" fmla="*/ 672 w 3088"/>
              <a:gd name="T83" fmla="*/ 2089 h 2339"/>
              <a:gd name="T84" fmla="*/ 202 w 3088"/>
              <a:gd name="T85" fmla="*/ 2135 h 2339"/>
              <a:gd name="T86" fmla="*/ 310 w 3088"/>
              <a:gd name="T87" fmla="*/ 2174 h 2339"/>
              <a:gd name="T88" fmla="*/ 503 w 3088"/>
              <a:gd name="T89" fmla="*/ 2174 h 2339"/>
              <a:gd name="T90" fmla="*/ 374 w 3088"/>
              <a:gd name="T91" fmla="*/ 2185 h 2339"/>
              <a:gd name="T92" fmla="*/ 439 w 3088"/>
              <a:gd name="T93" fmla="*/ 2185 h 2339"/>
              <a:gd name="T94" fmla="*/ 2197 w 3088"/>
              <a:gd name="T95" fmla="*/ 2040 h 2339"/>
              <a:gd name="T96" fmla="*/ 1597 w 3088"/>
              <a:gd name="T97" fmla="*/ 2027 h 2339"/>
              <a:gd name="T98" fmla="*/ 1937 w 3088"/>
              <a:gd name="T99" fmla="*/ 2047 h 2339"/>
              <a:gd name="T100" fmla="*/ 2002 w 3088"/>
              <a:gd name="T101" fmla="*/ 2254 h 2339"/>
              <a:gd name="T102" fmla="*/ 2061 w 3088"/>
              <a:gd name="T103" fmla="*/ 2041 h 2339"/>
              <a:gd name="T104" fmla="*/ 2002 w 3088"/>
              <a:gd name="T105" fmla="*/ 2073 h 2339"/>
              <a:gd name="T106" fmla="*/ 767 w 3088"/>
              <a:gd name="T107" fmla="*/ 1934 h 2339"/>
              <a:gd name="T108" fmla="*/ 1202 w 3088"/>
              <a:gd name="T109" fmla="*/ 2037 h 2339"/>
              <a:gd name="T110" fmla="*/ 1108 w 3088"/>
              <a:gd name="T111" fmla="*/ 2086 h 2339"/>
              <a:gd name="T112" fmla="*/ 1280 w 3088"/>
              <a:gd name="T113" fmla="*/ 2078 h 2339"/>
              <a:gd name="T114" fmla="*/ 1385 w 3088"/>
              <a:gd name="T115" fmla="*/ 2249 h 2339"/>
              <a:gd name="T116" fmla="*/ 1403 w 3088"/>
              <a:gd name="T117" fmla="*/ 2332 h 2339"/>
              <a:gd name="T118" fmla="*/ 1354 w 3088"/>
              <a:gd name="T119" fmla="*/ 2200 h 2339"/>
              <a:gd name="T120" fmla="*/ 993 w 3088"/>
              <a:gd name="T121" fmla="*/ 2123 h 2339"/>
              <a:gd name="T122" fmla="*/ 397 w 3088"/>
              <a:gd name="T123" fmla="*/ 963 h 2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088" h="2339">
                <a:moveTo>
                  <a:pt x="257" y="1763"/>
                </a:moveTo>
                <a:lnTo>
                  <a:pt x="257" y="1763"/>
                </a:lnTo>
                <a:lnTo>
                  <a:pt x="257" y="1755"/>
                </a:lnTo>
                <a:lnTo>
                  <a:pt x="256" y="1749"/>
                </a:lnTo>
                <a:lnTo>
                  <a:pt x="253" y="1736"/>
                </a:lnTo>
                <a:lnTo>
                  <a:pt x="247" y="1725"/>
                </a:lnTo>
                <a:lnTo>
                  <a:pt x="241" y="1716"/>
                </a:lnTo>
                <a:lnTo>
                  <a:pt x="233" y="1709"/>
                </a:lnTo>
                <a:lnTo>
                  <a:pt x="225" y="1704"/>
                </a:lnTo>
                <a:lnTo>
                  <a:pt x="219" y="1699"/>
                </a:lnTo>
                <a:lnTo>
                  <a:pt x="212" y="1696"/>
                </a:lnTo>
                <a:lnTo>
                  <a:pt x="212" y="1696"/>
                </a:lnTo>
                <a:lnTo>
                  <a:pt x="220" y="1690"/>
                </a:lnTo>
                <a:lnTo>
                  <a:pt x="226" y="1685"/>
                </a:lnTo>
                <a:lnTo>
                  <a:pt x="232" y="1678"/>
                </a:lnTo>
                <a:lnTo>
                  <a:pt x="237" y="1671"/>
                </a:lnTo>
                <a:lnTo>
                  <a:pt x="242" y="1663"/>
                </a:lnTo>
                <a:lnTo>
                  <a:pt x="244" y="1654"/>
                </a:lnTo>
                <a:lnTo>
                  <a:pt x="246" y="1645"/>
                </a:lnTo>
                <a:lnTo>
                  <a:pt x="246" y="1635"/>
                </a:lnTo>
                <a:lnTo>
                  <a:pt x="246" y="1635"/>
                </a:lnTo>
                <a:lnTo>
                  <a:pt x="246" y="1626"/>
                </a:lnTo>
                <a:lnTo>
                  <a:pt x="245" y="1618"/>
                </a:lnTo>
                <a:lnTo>
                  <a:pt x="243" y="1610"/>
                </a:lnTo>
                <a:lnTo>
                  <a:pt x="241" y="1602"/>
                </a:lnTo>
                <a:lnTo>
                  <a:pt x="237" y="1594"/>
                </a:lnTo>
                <a:lnTo>
                  <a:pt x="233" y="1588"/>
                </a:lnTo>
                <a:lnTo>
                  <a:pt x="227" y="1582"/>
                </a:lnTo>
                <a:lnTo>
                  <a:pt x="222" y="1577"/>
                </a:lnTo>
                <a:lnTo>
                  <a:pt x="215" y="1572"/>
                </a:lnTo>
                <a:lnTo>
                  <a:pt x="209" y="1568"/>
                </a:lnTo>
                <a:lnTo>
                  <a:pt x="201" y="1565"/>
                </a:lnTo>
                <a:lnTo>
                  <a:pt x="192" y="1561"/>
                </a:lnTo>
                <a:lnTo>
                  <a:pt x="183" y="1559"/>
                </a:lnTo>
                <a:lnTo>
                  <a:pt x="173" y="1557"/>
                </a:lnTo>
                <a:lnTo>
                  <a:pt x="163" y="1557"/>
                </a:lnTo>
                <a:lnTo>
                  <a:pt x="152" y="1556"/>
                </a:lnTo>
                <a:lnTo>
                  <a:pt x="22" y="1556"/>
                </a:lnTo>
                <a:lnTo>
                  <a:pt x="22" y="1860"/>
                </a:lnTo>
                <a:lnTo>
                  <a:pt x="151" y="1860"/>
                </a:lnTo>
                <a:lnTo>
                  <a:pt x="151" y="1860"/>
                </a:lnTo>
                <a:lnTo>
                  <a:pt x="163" y="1860"/>
                </a:lnTo>
                <a:lnTo>
                  <a:pt x="174" y="1859"/>
                </a:lnTo>
                <a:lnTo>
                  <a:pt x="185" y="1857"/>
                </a:lnTo>
                <a:lnTo>
                  <a:pt x="195" y="1854"/>
                </a:lnTo>
                <a:lnTo>
                  <a:pt x="205" y="1850"/>
                </a:lnTo>
                <a:lnTo>
                  <a:pt x="214" y="1846"/>
                </a:lnTo>
                <a:lnTo>
                  <a:pt x="222" y="1840"/>
                </a:lnTo>
                <a:lnTo>
                  <a:pt x="228" y="1835"/>
                </a:lnTo>
                <a:lnTo>
                  <a:pt x="235" y="1828"/>
                </a:lnTo>
                <a:lnTo>
                  <a:pt x="241" y="1821"/>
                </a:lnTo>
                <a:lnTo>
                  <a:pt x="246" y="1813"/>
                </a:lnTo>
                <a:lnTo>
                  <a:pt x="249" y="1804"/>
                </a:lnTo>
                <a:lnTo>
                  <a:pt x="253" y="1795"/>
                </a:lnTo>
                <a:lnTo>
                  <a:pt x="255" y="1785"/>
                </a:lnTo>
                <a:lnTo>
                  <a:pt x="256" y="1774"/>
                </a:lnTo>
                <a:lnTo>
                  <a:pt x="257" y="1763"/>
                </a:lnTo>
                <a:lnTo>
                  <a:pt x="257" y="1763"/>
                </a:lnTo>
                <a:close/>
                <a:moveTo>
                  <a:pt x="151" y="1810"/>
                </a:moveTo>
                <a:lnTo>
                  <a:pt x="78" y="1810"/>
                </a:lnTo>
                <a:lnTo>
                  <a:pt x="78" y="1722"/>
                </a:lnTo>
                <a:lnTo>
                  <a:pt x="151" y="1722"/>
                </a:lnTo>
                <a:lnTo>
                  <a:pt x="151" y="1722"/>
                </a:lnTo>
                <a:lnTo>
                  <a:pt x="162" y="1723"/>
                </a:lnTo>
                <a:lnTo>
                  <a:pt x="171" y="1725"/>
                </a:lnTo>
                <a:lnTo>
                  <a:pt x="179" y="1728"/>
                </a:lnTo>
                <a:lnTo>
                  <a:pt x="185" y="1733"/>
                </a:lnTo>
                <a:lnTo>
                  <a:pt x="191" y="1739"/>
                </a:lnTo>
                <a:lnTo>
                  <a:pt x="194" y="1747"/>
                </a:lnTo>
                <a:lnTo>
                  <a:pt x="196" y="1755"/>
                </a:lnTo>
                <a:lnTo>
                  <a:pt x="198" y="1765"/>
                </a:lnTo>
                <a:lnTo>
                  <a:pt x="198" y="1765"/>
                </a:lnTo>
                <a:lnTo>
                  <a:pt x="196" y="1775"/>
                </a:lnTo>
                <a:lnTo>
                  <a:pt x="194" y="1784"/>
                </a:lnTo>
                <a:lnTo>
                  <a:pt x="190" y="1792"/>
                </a:lnTo>
                <a:lnTo>
                  <a:pt x="185" y="1797"/>
                </a:lnTo>
                <a:lnTo>
                  <a:pt x="179" y="1803"/>
                </a:lnTo>
                <a:lnTo>
                  <a:pt x="171" y="1806"/>
                </a:lnTo>
                <a:lnTo>
                  <a:pt x="161" y="1808"/>
                </a:lnTo>
                <a:lnTo>
                  <a:pt x="151" y="1810"/>
                </a:lnTo>
                <a:lnTo>
                  <a:pt x="151" y="1810"/>
                </a:lnTo>
                <a:close/>
                <a:moveTo>
                  <a:pt x="150" y="1673"/>
                </a:moveTo>
                <a:lnTo>
                  <a:pt x="78" y="1673"/>
                </a:lnTo>
                <a:lnTo>
                  <a:pt x="78" y="1608"/>
                </a:lnTo>
                <a:lnTo>
                  <a:pt x="148" y="1608"/>
                </a:lnTo>
                <a:lnTo>
                  <a:pt x="148" y="1608"/>
                </a:lnTo>
                <a:lnTo>
                  <a:pt x="157" y="1609"/>
                </a:lnTo>
                <a:lnTo>
                  <a:pt x="166" y="1610"/>
                </a:lnTo>
                <a:lnTo>
                  <a:pt x="172" y="1612"/>
                </a:lnTo>
                <a:lnTo>
                  <a:pt x="178" y="1615"/>
                </a:lnTo>
                <a:lnTo>
                  <a:pt x="182" y="1621"/>
                </a:lnTo>
                <a:lnTo>
                  <a:pt x="185" y="1626"/>
                </a:lnTo>
                <a:lnTo>
                  <a:pt x="187" y="1633"/>
                </a:lnTo>
                <a:lnTo>
                  <a:pt x="188" y="1641"/>
                </a:lnTo>
                <a:lnTo>
                  <a:pt x="188" y="1641"/>
                </a:lnTo>
                <a:lnTo>
                  <a:pt x="188" y="1646"/>
                </a:lnTo>
                <a:lnTo>
                  <a:pt x="187" y="1652"/>
                </a:lnTo>
                <a:lnTo>
                  <a:pt x="184" y="1657"/>
                </a:lnTo>
                <a:lnTo>
                  <a:pt x="181" y="1662"/>
                </a:lnTo>
                <a:lnTo>
                  <a:pt x="175" y="1666"/>
                </a:lnTo>
                <a:lnTo>
                  <a:pt x="169" y="1669"/>
                </a:lnTo>
                <a:lnTo>
                  <a:pt x="161" y="1672"/>
                </a:lnTo>
                <a:lnTo>
                  <a:pt x="150" y="1673"/>
                </a:lnTo>
                <a:lnTo>
                  <a:pt x="150" y="1673"/>
                </a:lnTo>
                <a:close/>
                <a:moveTo>
                  <a:pt x="296" y="1764"/>
                </a:moveTo>
                <a:lnTo>
                  <a:pt x="296" y="1639"/>
                </a:lnTo>
                <a:lnTo>
                  <a:pt x="351" y="1639"/>
                </a:lnTo>
                <a:lnTo>
                  <a:pt x="351" y="1761"/>
                </a:lnTo>
                <a:lnTo>
                  <a:pt x="351" y="1761"/>
                </a:lnTo>
                <a:lnTo>
                  <a:pt x="351" y="1773"/>
                </a:lnTo>
                <a:lnTo>
                  <a:pt x="353" y="1785"/>
                </a:lnTo>
                <a:lnTo>
                  <a:pt x="356" y="1794"/>
                </a:lnTo>
                <a:lnTo>
                  <a:pt x="361" y="1802"/>
                </a:lnTo>
                <a:lnTo>
                  <a:pt x="366" y="1807"/>
                </a:lnTo>
                <a:lnTo>
                  <a:pt x="373" y="1812"/>
                </a:lnTo>
                <a:lnTo>
                  <a:pt x="382" y="1814"/>
                </a:lnTo>
                <a:lnTo>
                  <a:pt x="392" y="1815"/>
                </a:lnTo>
                <a:lnTo>
                  <a:pt x="392" y="1815"/>
                </a:lnTo>
                <a:lnTo>
                  <a:pt x="402" y="1814"/>
                </a:lnTo>
                <a:lnTo>
                  <a:pt x="409" y="1812"/>
                </a:lnTo>
                <a:lnTo>
                  <a:pt x="417" y="1807"/>
                </a:lnTo>
                <a:lnTo>
                  <a:pt x="423" y="1802"/>
                </a:lnTo>
                <a:lnTo>
                  <a:pt x="427" y="1794"/>
                </a:lnTo>
                <a:lnTo>
                  <a:pt x="430" y="1784"/>
                </a:lnTo>
                <a:lnTo>
                  <a:pt x="433" y="1773"/>
                </a:lnTo>
                <a:lnTo>
                  <a:pt x="433" y="1761"/>
                </a:lnTo>
                <a:lnTo>
                  <a:pt x="433" y="1639"/>
                </a:lnTo>
                <a:lnTo>
                  <a:pt x="488" y="1639"/>
                </a:lnTo>
                <a:lnTo>
                  <a:pt x="488" y="1860"/>
                </a:lnTo>
                <a:lnTo>
                  <a:pt x="433" y="1860"/>
                </a:lnTo>
                <a:lnTo>
                  <a:pt x="433" y="1843"/>
                </a:lnTo>
                <a:lnTo>
                  <a:pt x="433" y="1843"/>
                </a:lnTo>
                <a:lnTo>
                  <a:pt x="428" y="1848"/>
                </a:lnTo>
                <a:lnTo>
                  <a:pt x="422" y="1853"/>
                </a:lnTo>
                <a:lnTo>
                  <a:pt x="416" y="1857"/>
                </a:lnTo>
                <a:lnTo>
                  <a:pt x="409" y="1859"/>
                </a:lnTo>
                <a:lnTo>
                  <a:pt x="403" y="1862"/>
                </a:lnTo>
                <a:lnTo>
                  <a:pt x="395" y="1864"/>
                </a:lnTo>
                <a:lnTo>
                  <a:pt x="387" y="1865"/>
                </a:lnTo>
                <a:lnTo>
                  <a:pt x="380" y="1866"/>
                </a:lnTo>
                <a:lnTo>
                  <a:pt x="380" y="1866"/>
                </a:lnTo>
                <a:lnTo>
                  <a:pt x="366" y="1865"/>
                </a:lnTo>
                <a:lnTo>
                  <a:pt x="355" y="1862"/>
                </a:lnTo>
                <a:lnTo>
                  <a:pt x="345" y="1859"/>
                </a:lnTo>
                <a:lnTo>
                  <a:pt x="336" y="1855"/>
                </a:lnTo>
                <a:lnTo>
                  <a:pt x="328" y="1849"/>
                </a:lnTo>
                <a:lnTo>
                  <a:pt x="321" y="1844"/>
                </a:lnTo>
                <a:lnTo>
                  <a:pt x="316" y="1836"/>
                </a:lnTo>
                <a:lnTo>
                  <a:pt x="310" y="1828"/>
                </a:lnTo>
                <a:lnTo>
                  <a:pt x="307" y="1821"/>
                </a:lnTo>
                <a:lnTo>
                  <a:pt x="304" y="1813"/>
                </a:lnTo>
                <a:lnTo>
                  <a:pt x="299" y="1795"/>
                </a:lnTo>
                <a:lnTo>
                  <a:pt x="297" y="1779"/>
                </a:lnTo>
                <a:lnTo>
                  <a:pt x="296" y="1764"/>
                </a:lnTo>
                <a:lnTo>
                  <a:pt x="296" y="1764"/>
                </a:lnTo>
                <a:close/>
                <a:moveTo>
                  <a:pt x="1135" y="1860"/>
                </a:moveTo>
                <a:lnTo>
                  <a:pt x="1079" y="1860"/>
                </a:lnTo>
                <a:lnTo>
                  <a:pt x="1079" y="1639"/>
                </a:lnTo>
                <a:lnTo>
                  <a:pt x="1135" y="1639"/>
                </a:lnTo>
                <a:lnTo>
                  <a:pt x="1135" y="1657"/>
                </a:lnTo>
                <a:lnTo>
                  <a:pt x="1135" y="1657"/>
                </a:lnTo>
                <a:lnTo>
                  <a:pt x="1140" y="1652"/>
                </a:lnTo>
                <a:lnTo>
                  <a:pt x="1146" y="1646"/>
                </a:lnTo>
                <a:lnTo>
                  <a:pt x="1152" y="1643"/>
                </a:lnTo>
                <a:lnTo>
                  <a:pt x="1159" y="1640"/>
                </a:lnTo>
                <a:lnTo>
                  <a:pt x="1167" y="1636"/>
                </a:lnTo>
                <a:lnTo>
                  <a:pt x="1173" y="1635"/>
                </a:lnTo>
                <a:lnTo>
                  <a:pt x="1182" y="1634"/>
                </a:lnTo>
                <a:lnTo>
                  <a:pt x="1190" y="1633"/>
                </a:lnTo>
                <a:lnTo>
                  <a:pt x="1190" y="1633"/>
                </a:lnTo>
                <a:lnTo>
                  <a:pt x="1200" y="1634"/>
                </a:lnTo>
                <a:lnTo>
                  <a:pt x="1208" y="1635"/>
                </a:lnTo>
                <a:lnTo>
                  <a:pt x="1217" y="1637"/>
                </a:lnTo>
                <a:lnTo>
                  <a:pt x="1225" y="1640"/>
                </a:lnTo>
                <a:lnTo>
                  <a:pt x="1233" y="1643"/>
                </a:lnTo>
                <a:lnTo>
                  <a:pt x="1239" y="1648"/>
                </a:lnTo>
                <a:lnTo>
                  <a:pt x="1245" y="1653"/>
                </a:lnTo>
                <a:lnTo>
                  <a:pt x="1250" y="1659"/>
                </a:lnTo>
                <a:lnTo>
                  <a:pt x="1256" y="1666"/>
                </a:lnTo>
                <a:lnTo>
                  <a:pt x="1259" y="1674"/>
                </a:lnTo>
                <a:lnTo>
                  <a:pt x="1264" y="1682"/>
                </a:lnTo>
                <a:lnTo>
                  <a:pt x="1266" y="1690"/>
                </a:lnTo>
                <a:lnTo>
                  <a:pt x="1268" y="1700"/>
                </a:lnTo>
                <a:lnTo>
                  <a:pt x="1270" y="1711"/>
                </a:lnTo>
                <a:lnTo>
                  <a:pt x="1271" y="1722"/>
                </a:lnTo>
                <a:lnTo>
                  <a:pt x="1271" y="1734"/>
                </a:lnTo>
                <a:lnTo>
                  <a:pt x="1271" y="1860"/>
                </a:lnTo>
                <a:lnTo>
                  <a:pt x="1216" y="1860"/>
                </a:lnTo>
                <a:lnTo>
                  <a:pt x="1216" y="1738"/>
                </a:lnTo>
                <a:lnTo>
                  <a:pt x="1216" y="1738"/>
                </a:lnTo>
                <a:lnTo>
                  <a:pt x="1216" y="1725"/>
                </a:lnTo>
                <a:lnTo>
                  <a:pt x="1214" y="1714"/>
                </a:lnTo>
                <a:lnTo>
                  <a:pt x="1211" y="1705"/>
                </a:lnTo>
                <a:lnTo>
                  <a:pt x="1206" y="1697"/>
                </a:lnTo>
                <a:lnTo>
                  <a:pt x="1201" y="1691"/>
                </a:lnTo>
                <a:lnTo>
                  <a:pt x="1194" y="1687"/>
                </a:lnTo>
                <a:lnTo>
                  <a:pt x="1186" y="1685"/>
                </a:lnTo>
                <a:lnTo>
                  <a:pt x="1176" y="1684"/>
                </a:lnTo>
                <a:lnTo>
                  <a:pt x="1176" y="1684"/>
                </a:lnTo>
                <a:lnTo>
                  <a:pt x="1167" y="1685"/>
                </a:lnTo>
                <a:lnTo>
                  <a:pt x="1158" y="1687"/>
                </a:lnTo>
                <a:lnTo>
                  <a:pt x="1151" y="1691"/>
                </a:lnTo>
                <a:lnTo>
                  <a:pt x="1146" y="1697"/>
                </a:lnTo>
                <a:lnTo>
                  <a:pt x="1140" y="1705"/>
                </a:lnTo>
                <a:lnTo>
                  <a:pt x="1137" y="1715"/>
                </a:lnTo>
                <a:lnTo>
                  <a:pt x="1135" y="1726"/>
                </a:lnTo>
                <a:lnTo>
                  <a:pt x="1135" y="1738"/>
                </a:lnTo>
                <a:lnTo>
                  <a:pt x="1135" y="1860"/>
                </a:lnTo>
                <a:close/>
                <a:moveTo>
                  <a:pt x="593" y="1742"/>
                </a:moveTo>
                <a:lnTo>
                  <a:pt x="593" y="1860"/>
                </a:lnTo>
                <a:lnTo>
                  <a:pt x="537" y="1860"/>
                </a:lnTo>
                <a:lnTo>
                  <a:pt x="537" y="1639"/>
                </a:lnTo>
                <a:lnTo>
                  <a:pt x="593" y="1639"/>
                </a:lnTo>
                <a:lnTo>
                  <a:pt x="593" y="1742"/>
                </a:lnTo>
                <a:close/>
                <a:moveTo>
                  <a:pt x="641" y="1573"/>
                </a:moveTo>
                <a:lnTo>
                  <a:pt x="696" y="1546"/>
                </a:lnTo>
                <a:lnTo>
                  <a:pt x="696" y="1747"/>
                </a:lnTo>
                <a:lnTo>
                  <a:pt x="696" y="1860"/>
                </a:lnTo>
                <a:lnTo>
                  <a:pt x="641" y="1860"/>
                </a:lnTo>
                <a:lnTo>
                  <a:pt x="641" y="1573"/>
                </a:lnTo>
                <a:close/>
                <a:moveTo>
                  <a:pt x="871" y="1654"/>
                </a:moveTo>
                <a:lnTo>
                  <a:pt x="871" y="1654"/>
                </a:lnTo>
                <a:lnTo>
                  <a:pt x="866" y="1648"/>
                </a:lnTo>
                <a:lnTo>
                  <a:pt x="861" y="1645"/>
                </a:lnTo>
                <a:lnTo>
                  <a:pt x="854" y="1641"/>
                </a:lnTo>
                <a:lnTo>
                  <a:pt x="849" y="1639"/>
                </a:lnTo>
                <a:lnTo>
                  <a:pt x="842" y="1636"/>
                </a:lnTo>
                <a:lnTo>
                  <a:pt x="835" y="1634"/>
                </a:lnTo>
                <a:lnTo>
                  <a:pt x="822" y="1633"/>
                </a:lnTo>
                <a:lnTo>
                  <a:pt x="822" y="1633"/>
                </a:lnTo>
                <a:lnTo>
                  <a:pt x="812" y="1634"/>
                </a:lnTo>
                <a:lnTo>
                  <a:pt x="802" y="1635"/>
                </a:lnTo>
                <a:lnTo>
                  <a:pt x="794" y="1637"/>
                </a:lnTo>
                <a:lnTo>
                  <a:pt x="786" y="1641"/>
                </a:lnTo>
                <a:lnTo>
                  <a:pt x="778" y="1645"/>
                </a:lnTo>
                <a:lnTo>
                  <a:pt x="770" y="1651"/>
                </a:lnTo>
                <a:lnTo>
                  <a:pt x="764" y="1657"/>
                </a:lnTo>
                <a:lnTo>
                  <a:pt x="758" y="1664"/>
                </a:lnTo>
                <a:lnTo>
                  <a:pt x="753" y="1672"/>
                </a:lnTo>
                <a:lnTo>
                  <a:pt x="748" y="1680"/>
                </a:lnTo>
                <a:lnTo>
                  <a:pt x="744" y="1689"/>
                </a:lnTo>
                <a:lnTo>
                  <a:pt x="741" y="1699"/>
                </a:lnTo>
                <a:lnTo>
                  <a:pt x="738" y="1710"/>
                </a:lnTo>
                <a:lnTo>
                  <a:pt x="736" y="1722"/>
                </a:lnTo>
                <a:lnTo>
                  <a:pt x="735" y="1734"/>
                </a:lnTo>
                <a:lnTo>
                  <a:pt x="735" y="1747"/>
                </a:lnTo>
                <a:lnTo>
                  <a:pt x="735" y="1747"/>
                </a:lnTo>
                <a:lnTo>
                  <a:pt x="735" y="1761"/>
                </a:lnTo>
                <a:lnTo>
                  <a:pt x="736" y="1773"/>
                </a:lnTo>
                <a:lnTo>
                  <a:pt x="738" y="1785"/>
                </a:lnTo>
                <a:lnTo>
                  <a:pt x="741" y="1796"/>
                </a:lnTo>
                <a:lnTo>
                  <a:pt x="744" y="1807"/>
                </a:lnTo>
                <a:lnTo>
                  <a:pt x="747" y="1817"/>
                </a:lnTo>
                <a:lnTo>
                  <a:pt x="752" y="1826"/>
                </a:lnTo>
                <a:lnTo>
                  <a:pt x="757" y="1834"/>
                </a:lnTo>
                <a:lnTo>
                  <a:pt x="764" y="1841"/>
                </a:lnTo>
                <a:lnTo>
                  <a:pt x="769" y="1847"/>
                </a:lnTo>
                <a:lnTo>
                  <a:pt x="777" y="1853"/>
                </a:lnTo>
                <a:lnTo>
                  <a:pt x="785" y="1857"/>
                </a:lnTo>
                <a:lnTo>
                  <a:pt x="792" y="1860"/>
                </a:lnTo>
                <a:lnTo>
                  <a:pt x="801" y="1864"/>
                </a:lnTo>
                <a:lnTo>
                  <a:pt x="811" y="1865"/>
                </a:lnTo>
                <a:lnTo>
                  <a:pt x="821" y="1866"/>
                </a:lnTo>
                <a:lnTo>
                  <a:pt x="821" y="1866"/>
                </a:lnTo>
                <a:lnTo>
                  <a:pt x="828" y="1865"/>
                </a:lnTo>
                <a:lnTo>
                  <a:pt x="834" y="1864"/>
                </a:lnTo>
                <a:lnTo>
                  <a:pt x="841" y="1862"/>
                </a:lnTo>
                <a:lnTo>
                  <a:pt x="848" y="1860"/>
                </a:lnTo>
                <a:lnTo>
                  <a:pt x="853" y="1857"/>
                </a:lnTo>
                <a:lnTo>
                  <a:pt x="860" y="1854"/>
                </a:lnTo>
                <a:lnTo>
                  <a:pt x="865" y="1849"/>
                </a:lnTo>
                <a:lnTo>
                  <a:pt x="871" y="1844"/>
                </a:lnTo>
                <a:lnTo>
                  <a:pt x="871" y="1860"/>
                </a:lnTo>
                <a:lnTo>
                  <a:pt x="926" y="1860"/>
                </a:lnTo>
                <a:lnTo>
                  <a:pt x="926" y="1546"/>
                </a:lnTo>
                <a:lnTo>
                  <a:pt x="871" y="1573"/>
                </a:lnTo>
                <a:lnTo>
                  <a:pt x="871" y="1654"/>
                </a:lnTo>
                <a:close/>
                <a:moveTo>
                  <a:pt x="832" y="1815"/>
                </a:moveTo>
                <a:lnTo>
                  <a:pt x="832" y="1815"/>
                </a:lnTo>
                <a:lnTo>
                  <a:pt x="826" y="1814"/>
                </a:lnTo>
                <a:lnTo>
                  <a:pt x="818" y="1812"/>
                </a:lnTo>
                <a:lnTo>
                  <a:pt x="811" y="1808"/>
                </a:lnTo>
                <a:lnTo>
                  <a:pt x="805" y="1802"/>
                </a:lnTo>
                <a:lnTo>
                  <a:pt x="799" y="1793"/>
                </a:lnTo>
                <a:lnTo>
                  <a:pt x="795" y="1781"/>
                </a:lnTo>
                <a:lnTo>
                  <a:pt x="791" y="1765"/>
                </a:lnTo>
                <a:lnTo>
                  <a:pt x="790" y="1746"/>
                </a:lnTo>
                <a:lnTo>
                  <a:pt x="790" y="1746"/>
                </a:lnTo>
                <a:lnTo>
                  <a:pt x="791" y="1728"/>
                </a:lnTo>
                <a:lnTo>
                  <a:pt x="795" y="1715"/>
                </a:lnTo>
                <a:lnTo>
                  <a:pt x="799" y="1704"/>
                </a:lnTo>
                <a:lnTo>
                  <a:pt x="805" y="1696"/>
                </a:lnTo>
                <a:lnTo>
                  <a:pt x="810" y="1689"/>
                </a:lnTo>
                <a:lnTo>
                  <a:pt x="818" y="1686"/>
                </a:lnTo>
                <a:lnTo>
                  <a:pt x="824" y="1684"/>
                </a:lnTo>
                <a:lnTo>
                  <a:pt x="832" y="1684"/>
                </a:lnTo>
                <a:lnTo>
                  <a:pt x="832" y="1684"/>
                </a:lnTo>
                <a:lnTo>
                  <a:pt x="839" y="1684"/>
                </a:lnTo>
                <a:lnTo>
                  <a:pt x="845" y="1686"/>
                </a:lnTo>
                <a:lnTo>
                  <a:pt x="852" y="1688"/>
                </a:lnTo>
                <a:lnTo>
                  <a:pt x="856" y="1691"/>
                </a:lnTo>
                <a:lnTo>
                  <a:pt x="861" y="1695"/>
                </a:lnTo>
                <a:lnTo>
                  <a:pt x="865" y="1698"/>
                </a:lnTo>
                <a:lnTo>
                  <a:pt x="871" y="1706"/>
                </a:lnTo>
                <a:lnTo>
                  <a:pt x="871" y="1793"/>
                </a:lnTo>
                <a:lnTo>
                  <a:pt x="871" y="1793"/>
                </a:lnTo>
                <a:lnTo>
                  <a:pt x="864" y="1801"/>
                </a:lnTo>
                <a:lnTo>
                  <a:pt x="856" y="1807"/>
                </a:lnTo>
                <a:lnTo>
                  <a:pt x="852" y="1811"/>
                </a:lnTo>
                <a:lnTo>
                  <a:pt x="845" y="1813"/>
                </a:lnTo>
                <a:lnTo>
                  <a:pt x="840" y="1814"/>
                </a:lnTo>
                <a:lnTo>
                  <a:pt x="832" y="1815"/>
                </a:lnTo>
                <a:lnTo>
                  <a:pt x="832" y="1815"/>
                </a:lnTo>
                <a:close/>
                <a:moveTo>
                  <a:pt x="2069" y="1633"/>
                </a:moveTo>
                <a:lnTo>
                  <a:pt x="2069" y="1633"/>
                </a:lnTo>
                <a:lnTo>
                  <a:pt x="2064" y="1634"/>
                </a:lnTo>
                <a:lnTo>
                  <a:pt x="2057" y="1635"/>
                </a:lnTo>
                <a:lnTo>
                  <a:pt x="2044" y="1639"/>
                </a:lnTo>
                <a:lnTo>
                  <a:pt x="2032" y="1645"/>
                </a:lnTo>
                <a:lnTo>
                  <a:pt x="2021" y="1654"/>
                </a:lnTo>
                <a:lnTo>
                  <a:pt x="2021" y="1551"/>
                </a:lnTo>
                <a:lnTo>
                  <a:pt x="1966" y="1579"/>
                </a:lnTo>
                <a:lnTo>
                  <a:pt x="1966" y="1860"/>
                </a:lnTo>
                <a:lnTo>
                  <a:pt x="2021" y="1860"/>
                </a:lnTo>
                <a:lnTo>
                  <a:pt x="2021" y="1844"/>
                </a:lnTo>
                <a:lnTo>
                  <a:pt x="2021" y="1844"/>
                </a:lnTo>
                <a:lnTo>
                  <a:pt x="2025" y="1849"/>
                </a:lnTo>
                <a:lnTo>
                  <a:pt x="2032" y="1854"/>
                </a:lnTo>
                <a:lnTo>
                  <a:pt x="2037" y="1857"/>
                </a:lnTo>
                <a:lnTo>
                  <a:pt x="2044" y="1860"/>
                </a:lnTo>
                <a:lnTo>
                  <a:pt x="2049" y="1862"/>
                </a:lnTo>
                <a:lnTo>
                  <a:pt x="2057" y="1864"/>
                </a:lnTo>
                <a:lnTo>
                  <a:pt x="2064" y="1865"/>
                </a:lnTo>
                <a:lnTo>
                  <a:pt x="2070" y="1866"/>
                </a:lnTo>
                <a:lnTo>
                  <a:pt x="2070" y="1866"/>
                </a:lnTo>
                <a:lnTo>
                  <a:pt x="2080" y="1865"/>
                </a:lnTo>
                <a:lnTo>
                  <a:pt x="2090" y="1864"/>
                </a:lnTo>
                <a:lnTo>
                  <a:pt x="2099" y="1861"/>
                </a:lnTo>
                <a:lnTo>
                  <a:pt x="2108" y="1857"/>
                </a:lnTo>
                <a:lnTo>
                  <a:pt x="2116" y="1853"/>
                </a:lnTo>
                <a:lnTo>
                  <a:pt x="2122" y="1848"/>
                </a:lnTo>
                <a:lnTo>
                  <a:pt x="2129" y="1841"/>
                </a:lnTo>
                <a:lnTo>
                  <a:pt x="2134" y="1835"/>
                </a:lnTo>
                <a:lnTo>
                  <a:pt x="2140" y="1826"/>
                </a:lnTo>
                <a:lnTo>
                  <a:pt x="2144" y="1817"/>
                </a:lnTo>
                <a:lnTo>
                  <a:pt x="2148" y="1807"/>
                </a:lnTo>
                <a:lnTo>
                  <a:pt x="2151" y="1797"/>
                </a:lnTo>
                <a:lnTo>
                  <a:pt x="2154" y="1786"/>
                </a:lnTo>
                <a:lnTo>
                  <a:pt x="2155" y="1774"/>
                </a:lnTo>
                <a:lnTo>
                  <a:pt x="2157" y="1761"/>
                </a:lnTo>
                <a:lnTo>
                  <a:pt x="2158" y="1747"/>
                </a:lnTo>
                <a:lnTo>
                  <a:pt x="2158" y="1747"/>
                </a:lnTo>
                <a:lnTo>
                  <a:pt x="2157" y="1734"/>
                </a:lnTo>
                <a:lnTo>
                  <a:pt x="2155" y="1722"/>
                </a:lnTo>
                <a:lnTo>
                  <a:pt x="2153" y="1710"/>
                </a:lnTo>
                <a:lnTo>
                  <a:pt x="2151" y="1699"/>
                </a:lnTo>
                <a:lnTo>
                  <a:pt x="2148" y="1689"/>
                </a:lnTo>
                <a:lnTo>
                  <a:pt x="2143" y="1680"/>
                </a:lnTo>
                <a:lnTo>
                  <a:pt x="2139" y="1672"/>
                </a:lnTo>
                <a:lnTo>
                  <a:pt x="2133" y="1664"/>
                </a:lnTo>
                <a:lnTo>
                  <a:pt x="2128" y="1657"/>
                </a:lnTo>
                <a:lnTo>
                  <a:pt x="2121" y="1651"/>
                </a:lnTo>
                <a:lnTo>
                  <a:pt x="2113" y="1645"/>
                </a:lnTo>
                <a:lnTo>
                  <a:pt x="2106" y="1641"/>
                </a:lnTo>
                <a:lnTo>
                  <a:pt x="2098" y="1637"/>
                </a:lnTo>
                <a:lnTo>
                  <a:pt x="2089" y="1635"/>
                </a:lnTo>
                <a:lnTo>
                  <a:pt x="2079" y="1634"/>
                </a:lnTo>
                <a:lnTo>
                  <a:pt x="2069" y="1633"/>
                </a:lnTo>
                <a:lnTo>
                  <a:pt x="2069" y="1633"/>
                </a:lnTo>
                <a:close/>
                <a:moveTo>
                  <a:pt x="2059" y="1684"/>
                </a:moveTo>
                <a:lnTo>
                  <a:pt x="2059" y="1684"/>
                </a:lnTo>
                <a:lnTo>
                  <a:pt x="2067" y="1685"/>
                </a:lnTo>
                <a:lnTo>
                  <a:pt x="2075" y="1687"/>
                </a:lnTo>
                <a:lnTo>
                  <a:pt x="2081" y="1691"/>
                </a:lnTo>
                <a:lnTo>
                  <a:pt x="2088" y="1698"/>
                </a:lnTo>
                <a:lnTo>
                  <a:pt x="2094" y="1706"/>
                </a:lnTo>
                <a:lnTo>
                  <a:pt x="2097" y="1717"/>
                </a:lnTo>
                <a:lnTo>
                  <a:pt x="2100" y="1730"/>
                </a:lnTo>
                <a:lnTo>
                  <a:pt x="2101" y="1746"/>
                </a:lnTo>
                <a:lnTo>
                  <a:pt x="2101" y="1746"/>
                </a:lnTo>
                <a:lnTo>
                  <a:pt x="2100" y="1762"/>
                </a:lnTo>
                <a:lnTo>
                  <a:pt x="2098" y="1776"/>
                </a:lnTo>
                <a:lnTo>
                  <a:pt x="2096" y="1787"/>
                </a:lnTo>
                <a:lnTo>
                  <a:pt x="2091" y="1797"/>
                </a:lnTo>
                <a:lnTo>
                  <a:pt x="2085" y="1805"/>
                </a:lnTo>
                <a:lnTo>
                  <a:pt x="2078" y="1811"/>
                </a:lnTo>
                <a:lnTo>
                  <a:pt x="2070" y="1814"/>
                </a:lnTo>
                <a:lnTo>
                  <a:pt x="2061" y="1815"/>
                </a:lnTo>
                <a:lnTo>
                  <a:pt x="2061" y="1815"/>
                </a:lnTo>
                <a:lnTo>
                  <a:pt x="2053" y="1814"/>
                </a:lnTo>
                <a:lnTo>
                  <a:pt x="2046" y="1813"/>
                </a:lnTo>
                <a:lnTo>
                  <a:pt x="2041" y="1810"/>
                </a:lnTo>
                <a:lnTo>
                  <a:pt x="2035" y="1807"/>
                </a:lnTo>
                <a:lnTo>
                  <a:pt x="2026" y="1800"/>
                </a:lnTo>
                <a:lnTo>
                  <a:pt x="2021" y="1794"/>
                </a:lnTo>
                <a:lnTo>
                  <a:pt x="2021" y="1706"/>
                </a:lnTo>
                <a:lnTo>
                  <a:pt x="2021" y="1706"/>
                </a:lnTo>
                <a:lnTo>
                  <a:pt x="2024" y="1701"/>
                </a:lnTo>
                <a:lnTo>
                  <a:pt x="2029" y="1697"/>
                </a:lnTo>
                <a:lnTo>
                  <a:pt x="2033" y="1693"/>
                </a:lnTo>
                <a:lnTo>
                  <a:pt x="2037" y="1689"/>
                </a:lnTo>
                <a:lnTo>
                  <a:pt x="2043" y="1687"/>
                </a:lnTo>
                <a:lnTo>
                  <a:pt x="2048" y="1685"/>
                </a:lnTo>
                <a:lnTo>
                  <a:pt x="2054" y="1684"/>
                </a:lnTo>
                <a:lnTo>
                  <a:pt x="2059" y="1684"/>
                </a:lnTo>
                <a:lnTo>
                  <a:pt x="2059" y="1684"/>
                </a:lnTo>
                <a:close/>
                <a:moveTo>
                  <a:pt x="1445" y="1654"/>
                </a:moveTo>
                <a:lnTo>
                  <a:pt x="1445" y="1654"/>
                </a:lnTo>
                <a:lnTo>
                  <a:pt x="1440" y="1650"/>
                </a:lnTo>
                <a:lnTo>
                  <a:pt x="1435" y="1645"/>
                </a:lnTo>
                <a:lnTo>
                  <a:pt x="1428" y="1642"/>
                </a:lnTo>
                <a:lnTo>
                  <a:pt x="1423" y="1639"/>
                </a:lnTo>
                <a:lnTo>
                  <a:pt x="1416" y="1636"/>
                </a:lnTo>
                <a:lnTo>
                  <a:pt x="1409" y="1634"/>
                </a:lnTo>
                <a:lnTo>
                  <a:pt x="1403" y="1634"/>
                </a:lnTo>
                <a:lnTo>
                  <a:pt x="1396" y="1633"/>
                </a:lnTo>
                <a:lnTo>
                  <a:pt x="1396" y="1633"/>
                </a:lnTo>
                <a:lnTo>
                  <a:pt x="1386" y="1634"/>
                </a:lnTo>
                <a:lnTo>
                  <a:pt x="1376" y="1635"/>
                </a:lnTo>
                <a:lnTo>
                  <a:pt x="1367" y="1637"/>
                </a:lnTo>
                <a:lnTo>
                  <a:pt x="1360" y="1641"/>
                </a:lnTo>
                <a:lnTo>
                  <a:pt x="1352" y="1645"/>
                </a:lnTo>
                <a:lnTo>
                  <a:pt x="1344" y="1651"/>
                </a:lnTo>
                <a:lnTo>
                  <a:pt x="1338" y="1657"/>
                </a:lnTo>
                <a:lnTo>
                  <a:pt x="1332" y="1664"/>
                </a:lnTo>
                <a:lnTo>
                  <a:pt x="1327" y="1672"/>
                </a:lnTo>
                <a:lnTo>
                  <a:pt x="1322" y="1680"/>
                </a:lnTo>
                <a:lnTo>
                  <a:pt x="1318" y="1689"/>
                </a:lnTo>
                <a:lnTo>
                  <a:pt x="1314" y="1699"/>
                </a:lnTo>
                <a:lnTo>
                  <a:pt x="1312" y="1710"/>
                </a:lnTo>
                <a:lnTo>
                  <a:pt x="1310" y="1722"/>
                </a:lnTo>
                <a:lnTo>
                  <a:pt x="1309" y="1734"/>
                </a:lnTo>
                <a:lnTo>
                  <a:pt x="1309" y="1747"/>
                </a:lnTo>
                <a:lnTo>
                  <a:pt x="1309" y="1747"/>
                </a:lnTo>
                <a:lnTo>
                  <a:pt x="1309" y="1761"/>
                </a:lnTo>
                <a:lnTo>
                  <a:pt x="1310" y="1773"/>
                </a:lnTo>
                <a:lnTo>
                  <a:pt x="1312" y="1785"/>
                </a:lnTo>
                <a:lnTo>
                  <a:pt x="1314" y="1796"/>
                </a:lnTo>
                <a:lnTo>
                  <a:pt x="1318" y="1807"/>
                </a:lnTo>
                <a:lnTo>
                  <a:pt x="1321" y="1817"/>
                </a:lnTo>
                <a:lnTo>
                  <a:pt x="1327" y="1826"/>
                </a:lnTo>
                <a:lnTo>
                  <a:pt x="1331" y="1834"/>
                </a:lnTo>
                <a:lnTo>
                  <a:pt x="1338" y="1841"/>
                </a:lnTo>
                <a:lnTo>
                  <a:pt x="1343" y="1847"/>
                </a:lnTo>
                <a:lnTo>
                  <a:pt x="1351" y="1853"/>
                </a:lnTo>
                <a:lnTo>
                  <a:pt x="1359" y="1857"/>
                </a:lnTo>
                <a:lnTo>
                  <a:pt x="1366" y="1860"/>
                </a:lnTo>
                <a:lnTo>
                  <a:pt x="1375" y="1864"/>
                </a:lnTo>
                <a:lnTo>
                  <a:pt x="1385" y="1865"/>
                </a:lnTo>
                <a:lnTo>
                  <a:pt x="1395" y="1865"/>
                </a:lnTo>
                <a:lnTo>
                  <a:pt x="1395" y="1865"/>
                </a:lnTo>
                <a:lnTo>
                  <a:pt x="1402" y="1865"/>
                </a:lnTo>
                <a:lnTo>
                  <a:pt x="1408" y="1864"/>
                </a:lnTo>
                <a:lnTo>
                  <a:pt x="1415" y="1862"/>
                </a:lnTo>
                <a:lnTo>
                  <a:pt x="1421" y="1860"/>
                </a:lnTo>
                <a:lnTo>
                  <a:pt x="1428" y="1857"/>
                </a:lnTo>
                <a:lnTo>
                  <a:pt x="1434" y="1853"/>
                </a:lnTo>
                <a:lnTo>
                  <a:pt x="1439" y="1849"/>
                </a:lnTo>
                <a:lnTo>
                  <a:pt x="1445" y="1844"/>
                </a:lnTo>
                <a:lnTo>
                  <a:pt x="1445" y="1849"/>
                </a:lnTo>
                <a:lnTo>
                  <a:pt x="1445" y="1849"/>
                </a:lnTo>
                <a:lnTo>
                  <a:pt x="1445" y="1858"/>
                </a:lnTo>
                <a:lnTo>
                  <a:pt x="1444" y="1868"/>
                </a:lnTo>
                <a:lnTo>
                  <a:pt x="1441" y="1878"/>
                </a:lnTo>
                <a:lnTo>
                  <a:pt x="1439" y="1882"/>
                </a:lnTo>
                <a:lnTo>
                  <a:pt x="1436" y="1887"/>
                </a:lnTo>
                <a:lnTo>
                  <a:pt x="1433" y="1891"/>
                </a:lnTo>
                <a:lnTo>
                  <a:pt x="1428" y="1896"/>
                </a:lnTo>
                <a:lnTo>
                  <a:pt x="1421" y="1899"/>
                </a:lnTo>
                <a:lnTo>
                  <a:pt x="1415" y="1901"/>
                </a:lnTo>
                <a:lnTo>
                  <a:pt x="1407" y="1904"/>
                </a:lnTo>
                <a:lnTo>
                  <a:pt x="1397" y="1905"/>
                </a:lnTo>
                <a:lnTo>
                  <a:pt x="1386" y="1908"/>
                </a:lnTo>
                <a:lnTo>
                  <a:pt x="1374" y="1908"/>
                </a:lnTo>
                <a:lnTo>
                  <a:pt x="1372" y="1908"/>
                </a:lnTo>
                <a:lnTo>
                  <a:pt x="1391" y="1951"/>
                </a:lnTo>
                <a:lnTo>
                  <a:pt x="1392" y="1951"/>
                </a:lnTo>
                <a:lnTo>
                  <a:pt x="1392" y="1951"/>
                </a:lnTo>
                <a:lnTo>
                  <a:pt x="1405" y="1951"/>
                </a:lnTo>
                <a:lnTo>
                  <a:pt x="1417" y="1948"/>
                </a:lnTo>
                <a:lnTo>
                  <a:pt x="1429" y="1946"/>
                </a:lnTo>
                <a:lnTo>
                  <a:pt x="1439" y="1943"/>
                </a:lnTo>
                <a:lnTo>
                  <a:pt x="1449" y="1940"/>
                </a:lnTo>
                <a:lnTo>
                  <a:pt x="1458" y="1935"/>
                </a:lnTo>
                <a:lnTo>
                  <a:pt x="1466" y="1929"/>
                </a:lnTo>
                <a:lnTo>
                  <a:pt x="1473" y="1923"/>
                </a:lnTo>
                <a:lnTo>
                  <a:pt x="1480" y="1915"/>
                </a:lnTo>
                <a:lnTo>
                  <a:pt x="1484" y="1907"/>
                </a:lnTo>
                <a:lnTo>
                  <a:pt x="1490" y="1898"/>
                </a:lnTo>
                <a:lnTo>
                  <a:pt x="1493" y="1888"/>
                </a:lnTo>
                <a:lnTo>
                  <a:pt x="1497" y="1877"/>
                </a:lnTo>
                <a:lnTo>
                  <a:pt x="1499" y="1866"/>
                </a:lnTo>
                <a:lnTo>
                  <a:pt x="1500" y="1854"/>
                </a:lnTo>
                <a:lnTo>
                  <a:pt x="1500" y="1839"/>
                </a:lnTo>
                <a:lnTo>
                  <a:pt x="1500" y="1639"/>
                </a:lnTo>
                <a:lnTo>
                  <a:pt x="1445" y="1639"/>
                </a:lnTo>
                <a:lnTo>
                  <a:pt x="1445" y="1654"/>
                </a:lnTo>
                <a:close/>
                <a:moveTo>
                  <a:pt x="1445" y="1706"/>
                </a:moveTo>
                <a:lnTo>
                  <a:pt x="1445" y="1793"/>
                </a:lnTo>
                <a:lnTo>
                  <a:pt x="1445" y="1793"/>
                </a:lnTo>
                <a:lnTo>
                  <a:pt x="1438" y="1801"/>
                </a:lnTo>
                <a:lnTo>
                  <a:pt x="1429" y="1808"/>
                </a:lnTo>
                <a:lnTo>
                  <a:pt x="1425" y="1811"/>
                </a:lnTo>
                <a:lnTo>
                  <a:pt x="1419" y="1813"/>
                </a:lnTo>
                <a:lnTo>
                  <a:pt x="1413" y="1814"/>
                </a:lnTo>
                <a:lnTo>
                  <a:pt x="1406" y="1815"/>
                </a:lnTo>
                <a:lnTo>
                  <a:pt x="1406" y="1815"/>
                </a:lnTo>
                <a:lnTo>
                  <a:pt x="1398" y="1814"/>
                </a:lnTo>
                <a:lnTo>
                  <a:pt x="1392" y="1812"/>
                </a:lnTo>
                <a:lnTo>
                  <a:pt x="1384" y="1807"/>
                </a:lnTo>
                <a:lnTo>
                  <a:pt x="1378" y="1802"/>
                </a:lnTo>
                <a:lnTo>
                  <a:pt x="1373" y="1793"/>
                </a:lnTo>
                <a:lnTo>
                  <a:pt x="1369" y="1781"/>
                </a:lnTo>
                <a:lnTo>
                  <a:pt x="1365" y="1765"/>
                </a:lnTo>
                <a:lnTo>
                  <a:pt x="1364" y="1746"/>
                </a:lnTo>
                <a:lnTo>
                  <a:pt x="1364" y="1746"/>
                </a:lnTo>
                <a:lnTo>
                  <a:pt x="1365" y="1728"/>
                </a:lnTo>
                <a:lnTo>
                  <a:pt x="1369" y="1715"/>
                </a:lnTo>
                <a:lnTo>
                  <a:pt x="1373" y="1704"/>
                </a:lnTo>
                <a:lnTo>
                  <a:pt x="1378" y="1696"/>
                </a:lnTo>
                <a:lnTo>
                  <a:pt x="1384" y="1689"/>
                </a:lnTo>
                <a:lnTo>
                  <a:pt x="1392" y="1686"/>
                </a:lnTo>
                <a:lnTo>
                  <a:pt x="1398" y="1684"/>
                </a:lnTo>
                <a:lnTo>
                  <a:pt x="1406" y="1684"/>
                </a:lnTo>
                <a:lnTo>
                  <a:pt x="1406" y="1684"/>
                </a:lnTo>
                <a:lnTo>
                  <a:pt x="1413" y="1684"/>
                </a:lnTo>
                <a:lnTo>
                  <a:pt x="1419" y="1686"/>
                </a:lnTo>
                <a:lnTo>
                  <a:pt x="1426" y="1688"/>
                </a:lnTo>
                <a:lnTo>
                  <a:pt x="1430" y="1690"/>
                </a:lnTo>
                <a:lnTo>
                  <a:pt x="1435" y="1695"/>
                </a:lnTo>
                <a:lnTo>
                  <a:pt x="1439" y="1698"/>
                </a:lnTo>
                <a:lnTo>
                  <a:pt x="1445" y="1706"/>
                </a:lnTo>
                <a:lnTo>
                  <a:pt x="1445" y="1706"/>
                </a:lnTo>
                <a:close/>
                <a:moveTo>
                  <a:pt x="1671" y="1693"/>
                </a:moveTo>
                <a:lnTo>
                  <a:pt x="1671" y="1693"/>
                </a:lnTo>
                <a:lnTo>
                  <a:pt x="1684" y="1686"/>
                </a:lnTo>
                <a:lnTo>
                  <a:pt x="1697" y="1682"/>
                </a:lnTo>
                <a:lnTo>
                  <a:pt x="1712" y="1678"/>
                </a:lnTo>
                <a:lnTo>
                  <a:pt x="1727" y="1677"/>
                </a:lnTo>
                <a:lnTo>
                  <a:pt x="1727" y="1677"/>
                </a:lnTo>
                <a:lnTo>
                  <a:pt x="1737" y="1678"/>
                </a:lnTo>
                <a:lnTo>
                  <a:pt x="1745" y="1679"/>
                </a:lnTo>
                <a:lnTo>
                  <a:pt x="1751" y="1682"/>
                </a:lnTo>
                <a:lnTo>
                  <a:pt x="1757" y="1686"/>
                </a:lnTo>
                <a:lnTo>
                  <a:pt x="1761" y="1690"/>
                </a:lnTo>
                <a:lnTo>
                  <a:pt x="1765" y="1696"/>
                </a:lnTo>
                <a:lnTo>
                  <a:pt x="1767" y="1701"/>
                </a:lnTo>
                <a:lnTo>
                  <a:pt x="1767" y="1709"/>
                </a:lnTo>
                <a:lnTo>
                  <a:pt x="1767" y="1725"/>
                </a:lnTo>
                <a:lnTo>
                  <a:pt x="1767" y="1725"/>
                </a:lnTo>
                <a:lnTo>
                  <a:pt x="1757" y="1720"/>
                </a:lnTo>
                <a:lnTo>
                  <a:pt x="1745" y="1717"/>
                </a:lnTo>
                <a:lnTo>
                  <a:pt x="1733" y="1715"/>
                </a:lnTo>
                <a:lnTo>
                  <a:pt x="1719" y="1714"/>
                </a:lnTo>
                <a:lnTo>
                  <a:pt x="1719" y="1714"/>
                </a:lnTo>
                <a:lnTo>
                  <a:pt x="1704" y="1715"/>
                </a:lnTo>
                <a:lnTo>
                  <a:pt x="1689" y="1718"/>
                </a:lnTo>
                <a:lnTo>
                  <a:pt x="1674" y="1722"/>
                </a:lnTo>
                <a:lnTo>
                  <a:pt x="1667" y="1726"/>
                </a:lnTo>
                <a:lnTo>
                  <a:pt x="1660" y="1730"/>
                </a:lnTo>
                <a:lnTo>
                  <a:pt x="1654" y="1734"/>
                </a:lnTo>
                <a:lnTo>
                  <a:pt x="1649" y="1740"/>
                </a:lnTo>
                <a:lnTo>
                  <a:pt x="1643" y="1746"/>
                </a:lnTo>
                <a:lnTo>
                  <a:pt x="1639" y="1752"/>
                </a:lnTo>
                <a:lnTo>
                  <a:pt x="1636" y="1760"/>
                </a:lnTo>
                <a:lnTo>
                  <a:pt x="1633" y="1769"/>
                </a:lnTo>
                <a:lnTo>
                  <a:pt x="1632" y="1778"/>
                </a:lnTo>
                <a:lnTo>
                  <a:pt x="1631" y="1786"/>
                </a:lnTo>
                <a:lnTo>
                  <a:pt x="1631" y="1786"/>
                </a:lnTo>
                <a:lnTo>
                  <a:pt x="1632" y="1797"/>
                </a:lnTo>
                <a:lnTo>
                  <a:pt x="1633" y="1807"/>
                </a:lnTo>
                <a:lnTo>
                  <a:pt x="1636" y="1815"/>
                </a:lnTo>
                <a:lnTo>
                  <a:pt x="1639" y="1824"/>
                </a:lnTo>
                <a:lnTo>
                  <a:pt x="1642" y="1830"/>
                </a:lnTo>
                <a:lnTo>
                  <a:pt x="1648" y="1837"/>
                </a:lnTo>
                <a:lnTo>
                  <a:pt x="1652" y="1843"/>
                </a:lnTo>
                <a:lnTo>
                  <a:pt x="1659" y="1848"/>
                </a:lnTo>
                <a:lnTo>
                  <a:pt x="1664" y="1853"/>
                </a:lnTo>
                <a:lnTo>
                  <a:pt x="1671" y="1856"/>
                </a:lnTo>
                <a:lnTo>
                  <a:pt x="1685" y="1861"/>
                </a:lnTo>
                <a:lnTo>
                  <a:pt x="1700" y="1865"/>
                </a:lnTo>
                <a:lnTo>
                  <a:pt x="1714" y="1866"/>
                </a:lnTo>
                <a:lnTo>
                  <a:pt x="1714" y="1866"/>
                </a:lnTo>
                <a:lnTo>
                  <a:pt x="1726" y="1864"/>
                </a:lnTo>
                <a:lnTo>
                  <a:pt x="1734" y="1862"/>
                </a:lnTo>
                <a:lnTo>
                  <a:pt x="1740" y="1860"/>
                </a:lnTo>
                <a:lnTo>
                  <a:pt x="1748" y="1857"/>
                </a:lnTo>
                <a:lnTo>
                  <a:pt x="1755" y="1853"/>
                </a:lnTo>
                <a:lnTo>
                  <a:pt x="1761" y="1848"/>
                </a:lnTo>
                <a:lnTo>
                  <a:pt x="1767" y="1843"/>
                </a:lnTo>
                <a:lnTo>
                  <a:pt x="1767" y="1860"/>
                </a:lnTo>
                <a:lnTo>
                  <a:pt x="1822" y="1860"/>
                </a:lnTo>
                <a:lnTo>
                  <a:pt x="1822" y="1710"/>
                </a:lnTo>
                <a:lnTo>
                  <a:pt x="1822" y="1710"/>
                </a:lnTo>
                <a:lnTo>
                  <a:pt x="1822" y="1701"/>
                </a:lnTo>
                <a:lnTo>
                  <a:pt x="1821" y="1694"/>
                </a:lnTo>
                <a:lnTo>
                  <a:pt x="1819" y="1686"/>
                </a:lnTo>
                <a:lnTo>
                  <a:pt x="1817" y="1678"/>
                </a:lnTo>
                <a:lnTo>
                  <a:pt x="1812" y="1672"/>
                </a:lnTo>
                <a:lnTo>
                  <a:pt x="1809" y="1665"/>
                </a:lnTo>
                <a:lnTo>
                  <a:pt x="1803" y="1659"/>
                </a:lnTo>
                <a:lnTo>
                  <a:pt x="1798" y="1654"/>
                </a:lnTo>
                <a:lnTo>
                  <a:pt x="1792" y="1650"/>
                </a:lnTo>
                <a:lnTo>
                  <a:pt x="1786" y="1645"/>
                </a:lnTo>
                <a:lnTo>
                  <a:pt x="1778" y="1642"/>
                </a:lnTo>
                <a:lnTo>
                  <a:pt x="1770" y="1639"/>
                </a:lnTo>
                <a:lnTo>
                  <a:pt x="1761" y="1636"/>
                </a:lnTo>
                <a:lnTo>
                  <a:pt x="1753" y="1635"/>
                </a:lnTo>
                <a:lnTo>
                  <a:pt x="1743" y="1634"/>
                </a:lnTo>
                <a:lnTo>
                  <a:pt x="1733" y="1633"/>
                </a:lnTo>
                <a:lnTo>
                  <a:pt x="1733" y="1633"/>
                </a:lnTo>
                <a:lnTo>
                  <a:pt x="1721" y="1634"/>
                </a:lnTo>
                <a:lnTo>
                  <a:pt x="1711" y="1634"/>
                </a:lnTo>
                <a:lnTo>
                  <a:pt x="1700" y="1636"/>
                </a:lnTo>
                <a:lnTo>
                  <a:pt x="1689" y="1639"/>
                </a:lnTo>
                <a:lnTo>
                  <a:pt x="1679" y="1642"/>
                </a:lnTo>
                <a:lnTo>
                  <a:pt x="1669" y="1645"/>
                </a:lnTo>
                <a:lnTo>
                  <a:pt x="1659" y="1650"/>
                </a:lnTo>
                <a:lnTo>
                  <a:pt x="1649" y="1655"/>
                </a:lnTo>
                <a:lnTo>
                  <a:pt x="1671" y="1693"/>
                </a:lnTo>
                <a:close/>
                <a:moveTo>
                  <a:pt x="1686" y="1786"/>
                </a:moveTo>
                <a:lnTo>
                  <a:pt x="1686" y="1786"/>
                </a:lnTo>
                <a:lnTo>
                  <a:pt x="1686" y="1780"/>
                </a:lnTo>
                <a:lnTo>
                  <a:pt x="1689" y="1773"/>
                </a:lnTo>
                <a:lnTo>
                  <a:pt x="1692" y="1768"/>
                </a:lnTo>
                <a:lnTo>
                  <a:pt x="1696" y="1763"/>
                </a:lnTo>
                <a:lnTo>
                  <a:pt x="1702" y="1760"/>
                </a:lnTo>
                <a:lnTo>
                  <a:pt x="1708" y="1758"/>
                </a:lnTo>
                <a:lnTo>
                  <a:pt x="1716" y="1755"/>
                </a:lnTo>
                <a:lnTo>
                  <a:pt x="1724" y="1755"/>
                </a:lnTo>
                <a:lnTo>
                  <a:pt x="1724" y="1755"/>
                </a:lnTo>
                <a:lnTo>
                  <a:pt x="1736" y="1755"/>
                </a:lnTo>
                <a:lnTo>
                  <a:pt x="1747" y="1758"/>
                </a:lnTo>
                <a:lnTo>
                  <a:pt x="1757" y="1761"/>
                </a:lnTo>
                <a:lnTo>
                  <a:pt x="1767" y="1766"/>
                </a:lnTo>
                <a:lnTo>
                  <a:pt x="1767" y="1796"/>
                </a:lnTo>
                <a:lnTo>
                  <a:pt x="1767" y="1796"/>
                </a:lnTo>
                <a:lnTo>
                  <a:pt x="1765" y="1801"/>
                </a:lnTo>
                <a:lnTo>
                  <a:pt x="1760" y="1805"/>
                </a:lnTo>
                <a:lnTo>
                  <a:pt x="1756" y="1810"/>
                </a:lnTo>
                <a:lnTo>
                  <a:pt x="1750" y="1813"/>
                </a:lnTo>
                <a:lnTo>
                  <a:pt x="1745" y="1816"/>
                </a:lnTo>
                <a:lnTo>
                  <a:pt x="1738" y="1818"/>
                </a:lnTo>
                <a:lnTo>
                  <a:pt x="1732" y="1819"/>
                </a:lnTo>
                <a:lnTo>
                  <a:pt x="1724" y="1821"/>
                </a:lnTo>
                <a:lnTo>
                  <a:pt x="1724" y="1821"/>
                </a:lnTo>
                <a:lnTo>
                  <a:pt x="1716" y="1819"/>
                </a:lnTo>
                <a:lnTo>
                  <a:pt x="1708" y="1817"/>
                </a:lnTo>
                <a:lnTo>
                  <a:pt x="1702" y="1815"/>
                </a:lnTo>
                <a:lnTo>
                  <a:pt x="1696" y="1811"/>
                </a:lnTo>
                <a:lnTo>
                  <a:pt x="1692" y="1806"/>
                </a:lnTo>
                <a:lnTo>
                  <a:pt x="1689" y="1801"/>
                </a:lnTo>
                <a:lnTo>
                  <a:pt x="1687" y="1794"/>
                </a:lnTo>
                <a:lnTo>
                  <a:pt x="1686" y="1786"/>
                </a:lnTo>
                <a:lnTo>
                  <a:pt x="1686" y="1786"/>
                </a:lnTo>
                <a:close/>
                <a:moveTo>
                  <a:pt x="2333" y="1796"/>
                </a:moveTo>
                <a:lnTo>
                  <a:pt x="2333" y="1796"/>
                </a:lnTo>
                <a:lnTo>
                  <a:pt x="2325" y="1803"/>
                </a:lnTo>
                <a:lnTo>
                  <a:pt x="2315" y="1808"/>
                </a:lnTo>
                <a:lnTo>
                  <a:pt x="2310" y="1811"/>
                </a:lnTo>
                <a:lnTo>
                  <a:pt x="2303" y="1813"/>
                </a:lnTo>
                <a:lnTo>
                  <a:pt x="2297" y="1814"/>
                </a:lnTo>
                <a:lnTo>
                  <a:pt x="2290" y="1815"/>
                </a:lnTo>
                <a:lnTo>
                  <a:pt x="2290" y="1815"/>
                </a:lnTo>
                <a:lnTo>
                  <a:pt x="2285" y="1814"/>
                </a:lnTo>
                <a:lnTo>
                  <a:pt x="2278" y="1814"/>
                </a:lnTo>
                <a:lnTo>
                  <a:pt x="2270" y="1812"/>
                </a:lnTo>
                <a:lnTo>
                  <a:pt x="2261" y="1807"/>
                </a:lnTo>
                <a:lnTo>
                  <a:pt x="2254" y="1802"/>
                </a:lnTo>
                <a:lnTo>
                  <a:pt x="2250" y="1797"/>
                </a:lnTo>
                <a:lnTo>
                  <a:pt x="2247" y="1793"/>
                </a:lnTo>
                <a:lnTo>
                  <a:pt x="2245" y="1787"/>
                </a:lnTo>
                <a:lnTo>
                  <a:pt x="2243" y="1781"/>
                </a:lnTo>
                <a:lnTo>
                  <a:pt x="2242" y="1774"/>
                </a:lnTo>
                <a:lnTo>
                  <a:pt x="2240" y="1766"/>
                </a:lnTo>
                <a:lnTo>
                  <a:pt x="2376" y="1766"/>
                </a:lnTo>
                <a:lnTo>
                  <a:pt x="2376" y="1766"/>
                </a:lnTo>
                <a:lnTo>
                  <a:pt x="2377" y="1750"/>
                </a:lnTo>
                <a:lnTo>
                  <a:pt x="2377" y="1750"/>
                </a:lnTo>
                <a:lnTo>
                  <a:pt x="2377" y="1737"/>
                </a:lnTo>
                <a:lnTo>
                  <a:pt x="2375" y="1725"/>
                </a:lnTo>
                <a:lnTo>
                  <a:pt x="2374" y="1712"/>
                </a:lnTo>
                <a:lnTo>
                  <a:pt x="2371" y="1701"/>
                </a:lnTo>
                <a:lnTo>
                  <a:pt x="2367" y="1691"/>
                </a:lnTo>
                <a:lnTo>
                  <a:pt x="2363" y="1682"/>
                </a:lnTo>
                <a:lnTo>
                  <a:pt x="2357" y="1673"/>
                </a:lnTo>
                <a:lnTo>
                  <a:pt x="2352" y="1665"/>
                </a:lnTo>
                <a:lnTo>
                  <a:pt x="2345" y="1657"/>
                </a:lnTo>
                <a:lnTo>
                  <a:pt x="2339" y="1652"/>
                </a:lnTo>
                <a:lnTo>
                  <a:pt x="2331" y="1646"/>
                </a:lnTo>
                <a:lnTo>
                  <a:pt x="2322" y="1642"/>
                </a:lnTo>
                <a:lnTo>
                  <a:pt x="2313" y="1639"/>
                </a:lnTo>
                <a:lnTo>
                  <a:pt x="2304" y="1635"/>
                </a:lnTo>
                <a:lnTo>
                  <a:pt x="2294" y="1634"/>
                </a:lnTo>
                <a:lnTo>
                  <a:pt x="2283" y="1633"/>
                </a:lnTo>
                <a:lnTo>
                  <a:pt x="2283" y="1633"/>
                </a:lnTo>
                <a:lnTo>
                  <a:pt x="2274" y="1634"/>
                </a:lnTo>
                <a:lnTo>
                  <a:pt x="2264" y="1635"/>
                </a:lnTo>
                <a:lnTo>
                  <a:pt x="2254" y="1639"/>
                </a:lnTo>
                <a:lnTo>
                  <a:pt x="2244" y="1642"/>
                </a:lnTo>
                <a:lnTo>
                  <a:pt x="2235" y="1646"/>
                </a:lnTo>
                <a:lnTo>
                  <a:pt x="2227" y="1653"/>
                </a:lnTo>
                <a:lnTo>
                  <a:pt x="2219" y="1658"/>
                </a:lnTo>
                <a:lnTo>
                  <a:pt x="2213" y="1666"/>
                </a:lnTo>
                <a:lnTo>
                  <a:pt x="2206" y="1674"/>
                </a:lnTo>
                <a:lnTo>
                  <a:pt x="2201" y="1683"/>
                </a:lnTo>
                <a:lnTo>
                  <a:pt x="2196" y="1693"/>
                </a:lnTo>
                <a:lnTo>
                  <a:pt x="2192" y="1703"/>
                </a:lnTo>
                <a:lnTo>
                  <a:pt x="2189" y="1714"/>
                </a:lnTo>
                <a:lnTo>
                  <a:pt x="2186" y="1726"/>
                </a:lnTo>
                <a:lnTo>
                  <a:pt x="2185" y="1737"/>
                </a:lnTo>
                <a:lnTo>
                  <a:pt x="2184" y="1750"/>
                </a:lnTo>
                <a:lnTo>
                  <a:pt x="2184" y="1750"/>
                </a:lnTo>
                <a:lnTo>
                  <a:pt x="2185" y="1762"/>
                </a:lnTo>
                <a:lnTo>
                  <a:pt x="2186" y="1774"/>
                </a:lnTo>
                <a:lnTo>
                  <a:pt x="2189" y="1786"/>
                </a:lnTo>
                <a:lnTo>
                  <a:pt x="2192" y="1797"/>
                </a:lnTo>
                <a:lnTo>
                  <a:pt x="2196" y="1807"/>
                </a:lnTo>
                <a:lnTo>
                  <a:pt x="2201" y="1817"/>
                </a:lnTo>
                <a:lnTo>
                  <a:pt x="2206" y="1826"/>
                </a:lnTo>
                <a:lnTo>
                  <a:pt x="2213" y="1834"/>
                </a:lnTo>
                <a:lnTo>
                  <a:pt x="2221" y="1840"/>
                </a:lnTo>
                <a:lnTo>
                  <a:pt x="2228" y="1847"/>
                </a:lnTo>
                <a:lnTo>
                  <a:pt x="2237" y="1853"/>
                </a:lnTo>
                <a:lnTo>
                  <a:pt x="2246" y="1857"/>
                </a:lnTo>
                <a:lnTo>
                  <a:pt x="2256" y="1860"/>
                </a:lnTo>
                <a:lnTo>
                  <a:pt x="2267" y="1864"/>
                </a:lnTo>
                <a:lnTo>
                  <a:pt x="2278" y="1865"/>
                </a:lnTo>
                <a:lnTo>
                  <a:pt x="2290" y="1866"/>
                </a:lnTo>
                <a:lnTo>
                  <a:pt x="2290" y="1866"/>
                </a:lnTo>
                <a:lnTo>
                  <a:pt x="2301" y="1865"/>
                </a:lnTo>
                <a:lnTo>
                  <a:pt x="2311" y="1864"/>
                </a:lnTo>
                <a:lnTo>
                  <a:pt x="2322" y="1860"/>
                </a:lnTo>
                <a:lnTo>
                  <a:pt x="2332" y="1857"/>
                </a:lnTo>
                <a:lnTo>
                  <a:pt x="2342" y="1851"/>
                </a:lnTo>
                <a:lnTo>
                  <a:pt x="2351" y="1846"/>
                </a:lnTo>
                <a:lnTo>
                  <a:pt x="2360" y="1838"/>
                </a:lnTo>
                <a:lnTo>
                  <a:pt x="2368" y="1830"/>
                </a:lnTo>
                <a:lnTo>
                  <a:pt x="2333" y="1796"/>
                </a:lnTo>
                <a:close/>
                <a:moveTo>
                  <a:pt x="2242" y="1726"/>
                </a:moveTo>
                <a:lnTo>
                  <a:pt x="2242" y="1726"/>
                </a:lnTo>
                <a:lnTo>
                  <a:pt x="2243" y="1716"/>
                </a:lnTo>
                <a:lnTo>
                  <a:pt x="2245" y="1707"/>
                </a:lnTo>
                <a:lnTo>
                  <a:pt x="2248" y="1699"/>
                </a:lnTo>
                <a:lnTo>
                  <a:pt x="2254" y="1693"/>
                </a:lnTo>
                <a:lnTo>
                  <a:pt x="2259" y="1687"/>
                </a:lnTo>
                <a:lnTo>
                  <a:pt x="2266" y="1684"/>
                </a:lnTo>
                <a:lnTo>
                  <a:pt x="2274" y="1680"/>
                </a:lnTo>
                <a:lnTo>
                  <a:pt x="2282" y="1680"/>
                </a:lnTo>
                <a:lnTo>
                  <a:pt x="2282" y="1680"/>
                </a:lnTo>
                <a:lnTo>
                  <a:pt x="2292" y="1682"/>
                </a:lnTo>
                <a:lnTo>
                  <a:pt x="2301" y="1684"/>
                </a:lnTo>
                <a:lnTo>
                  <a:pt x="2308" y="1688"/>
                </a:lnTo>
                <a:lnTo>
                  <a:pt x="2313" y="1695"/>
                </a:lnTo>
                <a:lnTo>
                  <a:pt x="2318" y="1701"/>
                </a:lnTo>
                <a:lnTo>
                  <a:pt x="2321" y="1709"/>
                </a:lnTo>
                <a:lnTo>
                  <a:pt x="2323" y="1718"/>
                </a:lnTo>
                <a:lnTo>
                  <a:pt x="2324" y="1726"/>
                </a:lnTo>
                <a:lnTo>
                  <a:pt x="2242" y="1726"/>
                </a:lnTo>
                <a:close/>
                <a:moveTo>
                  <a:pt x="2864" y="1796"/>
                </a:moveTo>
                <a:lnTo>
                  <a:pt x="2864" y="1796"/>
                </a:lnTo>
                <a:lnTo>
                  <a:pt x="2855" y="1803"/>
                </a:lnTo>
                <a:lnTo>
                  <a:pt x="2846" y="1808"/>
                </a:lnTo>
                <a:lnTo>
                  <a:pt x="2840" y="1811"/>
                </a:lnTo>
                <a:lnTo>
                  <a:pt x="2834" y="1813"/>
                </a:lnTo>
                <a:lnTo>
                  <a:pt x="2828" y="1814"/>
                </a:lnTo>
                <a:lnTo>
                  <a:pt x="2820" y="1815"/>
                </a:lnTo>
                <a:lnTo>
                  <a:pt x="2820" y="1815"/>
                </a:lnTo>
                <a:lnTo>
                  <a:pt x="2814" y="1814"/>
                </a:lnTo>
                <a:lnTo>
                  <a:pt x="2808" y="1814"/>
                </a:lnTo>
                <a:lnTo>
                  <a:pt x="2800" y="1812"/>
                </a:lnTo>
                <a:lnTo>
                  <a:pt x="2792" y="1807"/>
                </a:lnTo>
                <a:lnTo>
                  <a:pt x="2784" y="1802"/>
                </a:lnTo>
                <a:lnTo>
                  <a:pt x="2781" y="1797"/>
                </a:lnTo>
                <a:lnTo>
                  <a:pt x="2778" y="1793"/>
                </a:lnTo>
                <a:lnTo>
                  <a:pt x="2776" y="1787"/>
                </a:lnTo>
                <a:lnTo>
                  <a:pt x="2773" y="1781"/>
                </a:lnTo>
                <a:lnTo>
                  <a:pt x="2771" y="1774"/>
                </a:lnTo>
                <a:lnTo>
                  <a:pt x="2770" y="1766"/>
                </a:lnTo>
                <a:lnTo>
                  <a:pt x="2907" y="1766"/>
                </a:lnTo>
                <a:lnTo>
                  <a:pt x="2907" y="1766"/>
                </a:lnTo>
                <a:lnTo>
                  <a:pt x="2908" y="1750"/>
                </a:lnTo>
                <a:lnTo>
                  <a:pt x="2908" y="1750"/>
                </a:lnTo>
                <a:lnTo>
                  <a:pt x="2907" y="1737"/>
                </a:lnTo>
                <a:lnTo>
                  <a:pt x="2906" y="1725"/>
                </a:lnTo>
                <a:lnTo>
                  <a:pt x="2904" y="1712"/>
                </a:lnTo>
                <a:lnTo>
                  <a:pt x="2901" y="1701"/>
                </a:lnTo>
                <a:lnTo>
                  <a:pt x="2897" y="1691"/>
                </a:lnTo>
                <a:lnTo>
                  <a:pt x="2893" y="1682"/>
                </a:lnTo>
                <a:lnTo>
                  <a:pt x="2888" y="1673"/>
                </a:lnTo>
                <a:lnTo>
                  <a:pt x="2883" y="1665"/>
                </a:lnTo>
                <a:lnTo>
                  <a:pt x="2876" y="1657"/>
                </a:lnTo>
                <a:lnTo>
                  <a:pt x="2868" y="1652"/>
                </a:lnTo>
                <a:lnTo>
                  <a:pt x="2861" y="1646"/>
                </a:lnTo>
                <a:lnTo>
                  <a:pt x="2853" y="1642"/>
                </a:lnTo>
                <a:lnTo>
                  <a:pt x="2844" y="1639"/>
                </a:lnTo>
                <a:lnTo>
                  <a:pt x="2834" y="1635"/>
                </a:lnTo>
                <a:lnTo>
                  <a:pt x="2824" y="1634"/>
                </a:lnTo>
                <a:lnTo>
                  <a:pt x="2814" y="1633"/>
                </a:lnTo>
                <a:lnTo>
                  <a:pt x="2814" y="1633"/>
                </a:lnTo>
                <a:lnTo>
                  <a:pt x="2803" y="1634"/>
                </a:lnTo>
                <a:lnTo>
                  <a:pt x="2793" y="1635"/>
                </a:lnTo>
                <a:lnTo>
                  <a:pt x="2783" y="1639"/>
                </a:lnTo>
                <a:lnTo>
                  <a:pt x="2775" y="1642"/>
                </a:lnTo>
                <a:lnTo>
                  <a:pt x="2766" y="1646"/>
                </a:lnTo>
                <a:lnTo>
                  <a:pt x="2757" y="1653"/>
                </a:lnTo>
                <a:lnTo>
                  <a:pt x="2750" y="1658"/>
                </a:lnTo>
                <a:lnTo>
                  <a:pt x="2743" y="1666"/>
                </a:lnTo>
                <a:lnTo>
                  <a:pt x="2736" y="1674"/>
                </a:lnTo>
                <a:lnTo>
                  <a:pt x="2730" y="1683"/>
                </a:lnTo>
                <a:lnTo>
                  <a:pt x="2726" y="1693"/>
                </a:lnTo>
                <a:lnTo>
                  <a:pt x="2722" y="1703"/>
                </a:lnTo>
                <a:lnTo>
                  <a:pt x="2719" y="1714"/>
                </a:lnTo>
                <a:lnTo>
                  <a:pt x="2716" y="1726"/>
                </a:lnTo>
                <a:lnTo>
                  <a:pt x="2715" y="1737"/>
                </a:lnTo>
                <a:lnTo>
                  <a:pt x="2715" y="1750"/>
                </a:lnTo>
                <a:lnTo>
                  <a:pt x="2715" y="1750"/>
                </a:lnTo>
                <a:lnTo>
                  <a:pt x="2715" y="1762"/>
                </a:lnTo>
                <a:lnTo>
                  <a:pt x="2716" y="1774"/>
                </a:lnTo>
                <a:lnTo>
                  <a:pt x="2718" y="1786"/>
                </a:lnTo>
                <a:lnTo>
                  <a:pt x="2722" y="1797"/>
                </a:lnTo>
                <a:lnTo>
                  <a:pt x="2726" y="1807"/>
                </a:lnTo>
                <a:lnTo>
                  <a:pt x="2732" y="1817"/>
                </a:lnTo>
                <a:lnTo>
                  <a:pt x="2737" y="1826"/>
                </a:lnTo>
                <a:lnTo>
                  <a:pt x="2744" y="1834"/>
                </a:lnTo>
                <a:lnTo>
                  <a:pt x="2750" y="1840"/>
                </a:lnTo>
                <a:lnTo>
                  <a:pt x="2758" y="1847"/>
                </a:lnTo>
                <a:lnTo>
                  <a:pt x="2767" y="1853"/>
                </a:lnTo>
                <a:lnTo>
                  <a:pt x="2777" y="1857"/>
                </a:lnTo>
                <a:lnTo>
                  <a:pt x="2787" y="1860"/>
                </a:lnTo>
                <a:lnTo>
                  <a:pt x="2797" y="1864"/>
                </a:lnTo>
                <a:lnTo>
                  <a:pt x="2809" y="1865"/>
                </a:lnTo>
                <a:lnTo>
                  <a:pt x="2820" y="1866"/>
                </a:lnTo>
                <a:lnTo>
                  <a:pt x="2820" y="1866"/>
                </a:lnTo>
                <a:lnTo>
                  <a:pt x="2831" y="1865"/>
                </a:lnTo>
                <a:lnTo>
                  <a:pt x="2842" y="1864"/>
                </a:lnTo>
                <a:lnTo>
                  <a:pt x="2852" y="1860"/>
                </a:lnTo>
                <a:lnTo>
                  <a:pt x="2862" y="1857"/>
                </a:lnTo>
                <a:lnTo>
                  <a:pt x="2872" y="1851"/>
                </a:lnTo>
                <a:lnTo>
                  <a:pt x="2882" y="1846"/>
                </a:lnTo>
                <a:lnTo>
                  <a:pt x="2890" y="1838"/>
                </a:lnTo>
                <a:lnTo>
                  <a:pt x="2898" y="1830"/>
                </a:lnTo>
                <a:lnTo>
                  <a:pt x="2864" y="1796"/>
                </a:lnTo>
                <a:close/>
                <a:moveTo>
                  <a:pt x="2771" y="1726"/>
                </a:moveTo>
                <a:lnTo>
                  <a:pt x="2771" y="1726"/>
                </a:lnTo>
                <a:lnTo>
                  <a:pt x="2772" y="1716"/>
                </a:lnTo>
                <a:lnTo>
                  <a:pt x="2776" y="1707"/>
                </a:lnTo>
                <a:lnTo>
                  <a:pt x="2779" y="1699"/>
                </a:lnTo>
                <a:lnTo>
                  <a:pt x="2783" y="1693"/>
                </a:lnTo>
                <a:lnTo>
                  <a:pt x="2790" y="1687"/>
                </a:lnTo>
                <a:lnTo>
                  <a:pt x="2797" y="1684"/>
                </a:lnTo>
                <a:lnTo>
                  <a:pt x="2804" y="1680"/>
                </a:lnTo>
                <a:lnTo>
                  <a:pt x="2813" y="1680"/>
                </a:lnTo>
                <a:lnTo>
                  <a:pt x="2813" y="1680"/>
                </a:lnTo>
                <a:lnTo>
                  <a:pt x="2823" y="1682"/>
                </a:lnTo>
                <a:lnTo>
                  <a:pt x="2831" y="1684"/>
                </a:lnTo>
                <a:lnTo>
                  <a:pt x="2839" y="1688"/>
                </a:lnTo>
                <a:lnTo>
                  <a:pt x="2844" y="1695"/>
                </a:lnTo>
                <a:lnTo>
                  <a:pt x="2849" y="1701"/>
                </a:lnTo>
                <a:lnTo>
                  <a:pt x="2852" y="1709"/>
                </a:lnTo>
                <a:lnTo>
                  <a:pt x="2854" y="1718"/>
                </a:lnTo>
                <a:lnTo>
                  <a:pt x="2855" y="1726"/>
                </a:lnTo>
                <a:lnTo>
                  <a:pt x="2771" y="1726"/>
                </a:lnTo>
                <a:close/>
                <a:moveTo>
                  <a:pt x="2639" y="1783"/>
                </a:moveTo>
                <a:lnTo>
                  <a:pt x="2639" y="1783"/>
                </a:lnTo>
                <a:lnTo>
                  <a:pt x="2639" y="1791"/>
                </a:lnTo>
                <a:lnTo>
                  <a:pt x="2640" y="1796"/>
                </a:lnTo>
                <a:lnTo>
                  <a:pt x="2642" y="1802"/>
                </a:lnTo>
                <a:lnTo>
                  <a:pt x="2644" y="1806"/>
                </a:lnTo>
                <a:lnTo>
                  <a:pt x="2648" y="1810"/>
                </a:lnTo>
                <a:lnTo>
                  <a:pt x="2652" y="1812"/>
                </a:lnTo>
                <a:lnTo>
                  <a:pt x="2656" y="1813"/>
                </a:lnTo>
                <a:lnTo>
                  <a:pt x="2663" y="1813"/>
                </a:lnTo>
                <a:lnTo>
                  <a:pt x="2663" y="1813"/>
                </a:lnTo>
                <a:lnTo>
                  <a:pt x="2671" y="1813"/>
                </a:lnTo>
                <a:lnTo>
                  <a:pt x="2680" y="1811"/>
                </a:lnTo>
                <a:lnTo>
                  <a:pt x="2688" y="1807"/>
                </a:lnTo>
                <a:lnTo>
                  <a:pt x="2696" y="1803"/>
                </a:lnTo>
                <a:lnTo>
                  <a:pt x="2690" y="1855"/>
                </a:lnTo>
                <a:lnTo>
                  <a:pt x="2690" y="1855"/>
                </a:lnTo>
                <a:lnTo>
                  <a:pt x="2680" y="1859"/>
                </a:lnTo>
                <a:lnTo>
                  <a:pt x="2668" y="1862"/>
                </a:lnTo>
                <a:lnTo>
                  <a:pt x="2655" y="1865"/>
                </a:lnTo>
                <a:lnTo>
                  <a:pt x="2643" y="1866"/>
                </a:lnTo>
                <a:lnTo>
                  <a:pt x="2643" y="1866"/>
                </a:lnTo>
                <a:lnTo>
                  <a:pt x="2636" y="1865"/>
                </a:lnTo>
                <a:lnTo>
                  <a:pt x="2628" y="1864"/>
                </a:lnTo>
                <a:lnTo>
                  <a:pt x="2621" y="1861"/>
                </a:lnTo>
                <a:lnTo>
                  <a:pt x="2616" y="1859"/>
                </a:lnTo>
                <a:lnTo>
                  <a:pt x="2610" y="1856"/>
                </a:lnTo>
                <a:lnTo>
                  <a:pt x="2605" y="1853"/>
                </a:lnTo>
                <a:lnTo>
                  <a:pt x="2601" y="1848"/>
                </a:lnTo>
                <a:lnTo>
                  <a:pt x="2597" y="1843"/>
                </a:lnTo>
                <a:lnTo>
                  <a:pt x="2591" y="1833"/>
                </a:lnTo>
                <a:lnTo>
                  <a:pt x="2587" y="1821"/>
                </a:lnTo>
                <a:lnTo>
                  <a:pt x="2585" y="1810"/>
                </a:lnTo>
                <a:lnTo>
                  <a:pt x="2584" y="1797"/>
                </a:lnTo>
                <a:lnTo>
                  <a:pt x="2584" y="1689"/>
                </a:lnTo>
                <a:lnTo>
                  <a:pt x="2549" y="1689"/>
                </a:lnTo>
                <a:lnTo>
                  <a:pt x="2549" y="1639"/>
                </a:lnTo>
                <a:lnTo>
                  <a:pt x="2584" y="1639"/>
                </a:lnTo>
                <a:lnTo>
                  <a:pt x="2584" y="1581"/>
                </a:lnTo>
                <a:lnTo>
                  <a:pt x="2639" y="1554"/>
                </a:lnTo>
                <a:lnTo>
                  <a:pt x="2639" y="1639"/>
                </a:lnTo>
                <a:lnTo>
                  <a:pt x="2688" y="1639"/>
                </a:lnTo>
                <a:lnTo>
                  <a:pt x="2688" y="1689"/>
                </a:lnTo>
                <a:lnTo>
                  <a:pt x="2639" y="1689"/>
                </a:lnTo>
                <a:lnTo>
                  <a:pt x="2639" y="1783"/>
                </a:lnTo>
                <a:close/>
                <a:moveTo>
                  <a:pt x="2532" y="1855"/>
                </a:moveTo>
                <a:lnTo>
                  <a:pt x="2532" y="1855"/>
                </a:lnTo>
                <a:lnTo>
                  <a:pt x="2522" y="1859"/>
                </a:lnTo>
                <a:lnTo>
                  <a:pt x="2511" y="1862"/>
                </a:lnTo>
                <a:lnTo>
                  <a:pt x="2499" y="1865"/>
                </a:lnTo>
                <a:lnTo>
                  <a:pt x="2487" y="1866"/>
                </a:lnTo>
                <a:lnTo>
                  <a:pt x="2487" y="1866"/>
                </a:lnTo>
                <a:lnTo>
                  <a:pt x="2478" y="1865"/>
                </a:lnTo>
                <a:lnTo>
                  <a:pt x="2471" y="1864"/>
                </a:lnTo>
                <a:lnTo>
                  <a:pt x="2464" y="1861"/>
                </a:lnTo>
                <a:lnTo>
                  <a:pt x="2458" y="1859"/>
                </a:lnTo>
                <a:lnTo>
                  <a:pt x="2453" y="1856"/>
                </a:lnTo>
                <a:lnTo>
                  <a:pt x="2448" y="1853"/>
                </a:lnTo>
                <a:lnTo>
                  <a:pt x="2443" y="1848"/>
                </a:lnTo>
                <a:lnTo>
                  <a:pt x="2440" y="1843"/>
                </a:lnTo>
                <a:lnTo>
                  <a:pt x="2434" y="1833"/>
                </a:lnTo>
                <a:lnTo>
                  <a:pt x="2430" y="1821"/>
                </a:lnTo>
                <a:lnTo>
                  <a:pt x="2427" y="1810"/>
                </a:lnTo>
                <a:lnTo>
                  <a:pt x="2427" y="1797"/>
                </a:lnTo>
                <a:lnTo>
                  <a:pt x="2427" y="1689"/>
                </a:lnTo>
                <a:lnTo>
                  <a:pt x="2393" y="1689"/>
                </a:lnTo>
                <a:lnTo>
                  <a:pt x="2393" y="1639"/>
                </a:lnTo>
                <a:lnTo>
                  <a:pt x="2427" y="1639"/>
                </a:lnTo>
                <a:lnTo>
                  <a:pt x="2427" y="1581"/>
                </a:lnTo>
                <a:lnTo>
                  <a:pt x="2482" y="1554"/>
                </a:lnTo>
                <a:lnTo>
                  <a:pt x="2482" y="1639"/>
                </a:lnTo>
                <a:lnTo>
                  <a:pt x="2528" y="1639"/>
                </a:lnTo>
                <a:lnTo>
                  <a:pt x="2528" y="1689"/>
                </a:lnTo>
                <a:lnTo>
                  <a:pt x="2482" y="1689"/>
                </a:lnTo>
                <a:lnTo>
                  <a:pt x="2482" y="1783"/>
                </a:lnTo>
                <a:lnTo>
                  <a:pt x="2482" y="1783"/>
                </a:lnTo>
                <a:lnTo>
                  <a:pt x="2482" y="1791"/>
                </a:lnTo>
                <a:lnTo>
                  <a:pt x="2483" y="1796"/>
                </a:lnTo>
                <a:lnTo>
                  <a:pt x="2485" y="1802"/>
                </a:lnTo>
                <a:lnTo>
                  <a:pt x="2488" y="1806"/>
                </a:lnTo>
                <a:lnTo>
                  <a:pt x="2491" y="1810"/>
                </a:lnTo>
                <a:lnTo>
                  <a:pt x="2495" y="1812"/>
                </a:lnTo>
                <a:lnTo>
                  <a:pt x="2500" y="1813"/>
                </a:lnTo>
                <a:lnTo>
                  <a:pt x="2505" y="1813"/>
                </a:lnTo>
                <a:lnTo>
                  <a:pt x="2505" y="1813"/>
                </a:lnTo>
                <a:lnTo>
                  <a:pt x="2514" y="1813"/>
                </a:lnTo>
                <a:lnTo>
                  <a:pt x="2523" y="1811"/>
                </a:lnTo>
                <a:lnTo>
                  <a:pt x="2531" y="1807"/>
                </a:lnTo>
                <a:lnTo>
                  <a:pt x="2538" y="1803"/>
                </a:lnTo>
                <a:lnTo>
                  <a:pt x="2532" y="1855"/>
                </a:lnTo>
                <a:close/>
                <a:moveTo>
                  <a:pt x="3074" y="1700"/>
                </a:moveTo>
                <a:lnTo>
                  <a:pt x="3074" y="1700"/>
                </a:lnTo>
                <a:lnTo>
                  <a:pt x="3066" y="1695"/>
                </a:lnTo>
                <a:lnTo>
                  <a:pt x="3057" y="1691"/>
                </a:lnTo>
                <a:lnTo>
                  <a:pt x="3047" y="1689"/>
                </a:lnTo>
                <a:lnTo>
                  <a:pt x="3037" y="1688"/>
                </a:lnTo>
                <a:lnTo>
                  <a:pt x="3037" y="1688"/>
                </a:lnTo>
                <a:lnTo>
                  <a:pt x="3028" y="1689"/>
                </a:lnTo>
                <a:lnTo>
                  <a:pt x="3020" y="1691"/>
                </a:lnTo>
                <a:lnTo>
                  <a:pt x="3013" y="1696"/>
                </a:lnTo>
                <a:lnTo>
                  <a:pt x="3007" y="1701"/>
                </a:lnTo>
                <a:lnTo>
                  <a:pt x="3003" y="1708"/>
                </a:lnTo>
                <a:lnTo>
                  <a:pt x="3001" y="1717"/>
                </a:lnTo>
                <a:lnTo>
                  <a:pt x="2999" y="1728"/>
                </a:lnTo>
                <a:lnTo>
                  <a:pt x="2998" y="1740"/>
                </a:lnTo>
                <a:lnTo>
                  <a:pt x="2998" y="1860"/>
                </a:lnTo>
                <a:lnTo>
                  <a:pt x="2943" y="1860"/>
                </a:lnTo>
                <a:lnTo>
                  <a:pt x="2943" y="1639"/>
                </a:lnTo>
                <a:lnTo>
                  <a:pt x="2998" y="1639"/>
                </a:lnTo>
                <a:lnTo>
                  <a:pt x="2998" y="1657"/>
                </a:lnTo>
                <a:lnTo>
                  <a:pt x="2998" y="1657"/>
                </a:lnTo>
                <a:lnTo>
                  <a:pt x="3003" y="1652"/>
                </a:lnTo>
                <a:lnTo>
                  <a:pt x="3009" y="1646"/>
                </a:lnTo>
                <a:lnTo>
                  <a:pt x="3014" y="1643"/>
                </a:lnTo>
                <a:lnTo>
                  <a:pt x="3021" y="1640"/>
                </a:lnTo>
                <a:lnTo>
                  <a:pt x="3026" y="1636"/>
                </a:lnTo>
                <a:lnTo>
                  <a:pt x="3033" y="1635"/>
                </a:lnTo>
                <a:lnTo>
                  <a:pt x="3039" y="1634"/>
                </a:lnTo>
                <a:lnTo>
                  <a:pt x="3047" y="1633"/>
                </a:lnTo>
                <a:lnTo>
                  <a:pt x="3047" y="1633"/>
                </a:lnTo>
                <a:lnTo>
                  <a:pt x="3058" y="1634"/>
                </a:lnTo>
                <a:lnTo>
                  <a:pt x="3069" y="1637"/>
                </a:lnTo>
                <a:lnTo>
                  <a:pt x="3079" y="1641"/>
                </a:lnTo>
                <a:lnTo>
                  <a:pt x="3088" y="1646"/>
                </a:lnTo>
                <a:lnTo>
                  <a:pt x="3074" y="1700"/>
                </a:lnTo>
                <a:close/>
                <a:moveTo>
                  <a:pt x="593" y="1579"/>
                </a:moveTo>
                <a:lnTo>
                  <a:pt x="593" y="1607"/>
                </a:lnTo>
                <a:lnTo>
                  <a:pt x="537" y="1607"/>
                </a:lnTo>
                <a:lnTo>
                  <a:pt x="537" y="1551"/>
                </a:lnTo>
                <a:lnTo>
                  <a:pt x="593" y="1551"/>
                </a:lnTo>
                <a:lnTo>
                  <a:pt x="593" y="1579"/>
                </a:lnTo>
                <a:close/>
                <a:moveTo>
                  <a:pt x="975" y="1639"/>
                </a:moveTo>
                <a:lnTo>
                  <a:pt x="1030" y="1639"/>
                </a:lnTo>
                <a:lnTo>
                  <a:pt x="1030" y="1738"/>
                </a:lnTo>
                <a:lnTo>
                  <a:pt x="1030" y="1860"/>
                </a:lnTo>
                <a:lnTo>
                  <a:pt x="975" y="1860"/>
                </a:lnTo>
                <a:lnTo>
                  <a:pt x="975" y="1639"/>
                </a:lnTo>
                <a:close/>
                <a:moveTo>
                  <a:pt x="1030" y="1579"/>
                </a:moveTo>
                <a:lnTo>
                  <a:pt x="1030" y="1607"/>
                </a:lnTo>
                <a:lnTo>
                  <a:pt x="975" y="1607"/>
                </a:lnTo>
                <a:lnTo>
                  <a:pt x="975" y="1551"/>
                </a:lnTo>
                <a:lnTo>
                  <a:pt x="1030" y="1551"/>
                </a:lnTo>
                <a:lnTo>
                  <a:pt x="1030" y="1579"/>
                </a:lnTo>
                <a:close/>
                <a:moveTo>
                  <a:pt x="2539" y="2042"/>
                </a:moveTo>
                <a:lnTo>
                  <a:pt x="2539" y="2042"/>
                </a:lnTo>
                <a:lnTo>
                  <a:pt x="2534" y="2038"/>
                </a:lnTo>
                <a:lnTo>
                  <a:pt x="2528" y="2033"/>
                </a:lnTo>
                <a:lnTo>
                  <a:pt x="2523" y="2030"/>
                </a:lnTo>
                <a:lnTo>
                  <a:pt x="2516" y="2027"/>
                </a:lnTo>
                <a:lnTo>
                  <a:pt x="2511" y="2025"/>
                </a:lnTo>
                <a:lnTo>
                  <a:pt x="2504" y="2024"/>
                </a:lnTo>
                <a:lnTo>
                  <a:pt x="2490" y="2021"/>
                </a:lnTo>
                <a:lnTo>
                  <a:pt x="2490" y="2021"/>
                </a:lnTo>
                <a:lnTo>
                  <a:pt x="2480" y="2022"/>
                </a:lnTo>
                <a:lnTo>
                  <a:pt x="2471" y="2024"/>
                </a:lnTo>
                <a:lnTo>
                  <a:pt x="2462" y="2027"/>
                </a:lnTo>
                <a:lnTo>
                  <a:pt x="2453" y="2030"/>
                </a:lnTo>
                <a:lnTo>
                  <a:pt x="2446" y="2035"/>
                </a:lnTo>
                <a:lnTo>
                  <a:pt x="2439" y="2039"/>
                </a:lnTo>
                <a:lnTo>
                  <a:pt x="2432" y="2046"/>
                </a:lnTo>
                <a:lnTo>
                  <a:pt x="2426" y="2052"/>
                </a:lnTo>
                <a:lnTo>
                  <a:pt x="2421" y="2060"/>
                </a:lnTo>
                <a:lnTo>
                  <a:pt x="2416" y="2069"/>
                </a:lnTo>
                <a:lnTo>
                  <a:pt x="2413" y="2078"/>
                </a:lnTo>
                <a:lnTo>
                  <a:pt x="2409" y="2089"/>
                </a:lnTo>
                <a:lnTo>
                  <a:pt x="2406" y="2099"/>
                </a:lnTo>
                <a:lnTo>
                  <a:pt x="2405" y="2111"/>
                </a:lnTo>
                <a:lnTo>
                  <a:pt x="2404" y="2123"/>
                </a:lnTo>
                <a:lnTo>
                  <a:pt x="2403" y="2136"/>
                </a:lnTo>
                <a:lnTo>
                  <a:pt x="2403" y="2136"/>
                </a:lnTo>
                <a:lnTo>
                  <a:pt x="2404" y="2149"/>
                </a:lnTo>
                <a:lnTo>
                  <a:pt x="2405" y="2161"/>
                </a:lnTo>
                <a:lnTo>
                  <a:pt x="2406" y="2174"/>
                </a:lnTo>
                <a:lnTo>
                  <a:pt x="2409" y="2186"/>
                </a:lnTo>
                <a:lnTo>
                  <a:pt x="2411" y="2196"/>
                </a:lnTo>
                <a:lnTo>
                  <a:pt x="2416" y="2206"/>
                </a:lnTo>
                <a:lnTo>
                  <a:pt x="2420" y="2214"/>
                </a:lnTo>
                <a:lnTo>
                  <a:pt x="2426" y="2222"/>
                </a:lnTo>
                <a:lnTo>
                  <a:pt x="2431" y="2230"/>
                </a:lnTo>
                <a:lnTo>
                  <a:pt x="2438" y="2235"/>
                </a:lnTo>
                <a:lnTo>
                  <a:pt x="2445" y="2241"/>
                </a:lnTo>
                <a:lnTo>
                  <a:pt x="2452" y="2245"/>
                </a:lnTo>
                <a:lnTo>
                  <a:pt x="2461" y="2250"/>
                </a:lnTo>
                <a:lnTo>
                  <a:pt x="2470" y="2252"/>
                </a:lnTo>
                <a:lnTo>
                  <a:pt x="2479" y="2253"/>
                </a:lnTo>
                <a:lnTo>
                  <a:pt x="2489" y="2254"/>
                </a:lnTo>
                <a:lnTo>
                  <a:pt x="2489" y="2254"/>
                </a:lnTo>
                <a:lnTo>
                  <a:pt x="2495" y="2253"/>
                </a:lnTo>
                <a:lnTo>
                  <a:pt x="2503" y="2252"/>
                </a:lnTo>
                <a:lnTo>
                  <a:pt x="2510" y="2251"/>
                </a:lnTo>
                <a:lnTo>
                  <a:pt x="2515" y="2249"/>
                </a:lnTo>
                <a:lnTo>
                  <a:pt x="2522" y="2245"/>
                </a:lnTo>
                <a:lnTo>
                  <a:pt x="2528" y="2242"/>
                </a:lnTo>
                <a:lnTo>
                  <a:pt x="2534" y="2238"/>
                </a:lnTo>
                <a:lnTo>
                  <a:pt x="2539" y="2232"/>
                </a:lnTo>
                <a:lnTo>
                  <a:pt x="2539" y="2249"/>
                </a:lnTo>
                <a:lnTo>
                  <a:pt x="2595" y="2249"/>
                </a:lnTo>
                <a:lnTo>
                  <a:pt x="2595" y="1934"/>
                </a:lnTo>
                <a:lnTo>
                  <a:pt x="2539" y="1962"/>
                </a:lnTo>
                <a:lnTo>
                  <a:pt x="2539" y="2042"/>
                </a:lnTo>
                <a:close/>
                <a:moveTo>
                  <a:pt x="2501" y="2203"/>
                </a:moveTo>
                <a:lnTo>
                  <a:pt x="2501" y="2203"/>
                </a:lnTo>
                <a:lnTo>
                  <a:pt x="2493" y="2202"/>
                </a:lnTo>
                <a:lnTo>
                  <a:pt x="2487" y="2200"/>
                </a:lnTo>
                <a:lnTo>
                  <a:pt x="2479" y="2197"/>
                </a:lnTo>
                <a:lnTo>
                  <a:pt x="2472" y="2190"/>
                </a:lnTo>
                <a:lnTo>
                  <a:pt x="2467" y="2181"/>
                </a:lnTo>
                <a:lnTo>
                  <a:pt x="2462" y="2169"/>
                </a:lnTo>
                <a:lnTo>
                  <a:pt x="2460" y="2154"/>
                </a:lnTo>
                <a:lnTo>
                  <a:pt x="2459" y="2134"/>
                </a:lnTo>
                <a:lnTo>
                  <a:pt x="2459" y="2134"/>
                </a:lnTo>
                <a:lnTo>
                  <a:pt x="2460" y="2117"/>
                </a:lnTo>
                <a:lnTo>
                  <a:pt x="2462" y="2103"/>
                </a:lnTo>
                <a:lnTo>
                  <a:pt x="2467" y="2092"/>
                </a:lnTo>
                <a:lnTo>
                  <a:pt x="2472" y="2084"/>
                </a:lnTo>
                <a:lnTo>
                  <a:pt x="2479" y="2079"/>
                </a:lnTo>
                <a:lnTo>
                  <a:pt x="2485" y="2074"/>
                </a:lnTo>
                <a:lnTo>
                  <a:pt x="2493" y="2073"/>
                </a:lnTo>
                <a:lnTo>
                  <a:pt x="2500" y="2072"/>
                </a:lnTo>
                <a:lnTo>
                  <a:pt x="2500" y="2072"/>
                </a:lnTo>
                <a:lnTo>
                  <a:pt x="2507" y="2073"/>
                </a:lnTo>
                <a:lnTo>
                  <a:pt x="2514" y="2074"/>
                </a:lnTo>
                <a:lnTo>
                  <a:pt x="2520" y="2076"/>
                </a:lnTo>
                <a:lnTo>
                  <a:pt x="2525" y="2080"/>
                </a:lnTo>
                <a:lnTo>
                  <a:pt x="2530" y="2083"/>
                </a:lnTo>
                <a:lnTo>
                  <a:pt x="2534" y="2086"/>
                </a:lnTo>
                <a:lnTo>
                  <a:pt x="2539" y="2094"/>
                </a:lnTo>
                <a:lnTo>
                  <a:pt x="2539" y="2181"/>
                </a:lnTo>
                <a:lnTo>
                  <a:pt x="2539" y="2181"/>
                </a:lnTo>
                <a:lnTo>
                  <a:pt x="2533" y="2189"/>
                </a:lnTo>
                <a:lnTo>
                  <a:pt x="2525" y="2196"/>
                </a:lnTo>
                <a:lnTo>
                  <a:pt x="2520" y="2199"/>
                </a:lnTo>
                <a:lnTo>
                  <a:pt x="2514" y="2201"/>
                </a:lnTo>
                <a:lnTo>
                  <a:pt x="2507" y="2202"/>
                </a:lnTo>
                <a:lnTo>
                  <a:pt x="2501" y="2203"/>
                </a:lnTo>
                <a:lnTo>
                  <a:pt x="2501" y="2203"/>
                </a:lnTo>
                <a:close/>
                <a:moveTo>
                  <a:pt x="672" y="2089"/>
                </a:moveTo>
                <a:lnTo>
                  <a:pt x="672" y="2089"/>
                </a:lnTo>
                <a:lnTo>
                  <a:pt x="664" y="2084"/>
                </a:lnTo>
                <a:lnTo>
                  <a:pt x="656" y="2080"/>
                </a:lnTo>
                <a:lnTo>
                  <a:pt x="646" y="2078"/>
                </a:lnTo>
                <a:lnTo>
                  <a:pt x="636" y="2076"/>
                </a:lnTo>
                <a:lnTo>
                  <a:pt x="636" y="2076"/>
                </a:lnTo>
                <a:lnTo>
                  <a:pt x="627" y="2078"/>
                </a:lnTo>
                <a:lnTo>
                  <a:pt x="618" y="2080"/>
                </a:lnTo>
                <a:lnTo>
                  <a:pt x="611" y="2084"/>
                </a:lnTo>
                <a:lnTo>
                  <a:pt x="606" y="2090"/>
                </a:lnTo>
                <a:lnTo>
                  <a:pt x="601" y="2096"/>
                </a:lnTo>
                <a:lnTo>
                  <a:pt x="599" y="2105"/>
                </a:lnTo>
                <a:lnTo>
                  <a:pt x="597" y="2116"/>
                </a:lnTo>
                <a:lnTo>
                  <a:pt x="596" y="2128"/>
                </a:lnTo>
                <a:lnTo>
                  <a:pt x="596" y="2249"/>
                </a:lnTo>
                <a:lnTo>
                  <a:pt x="542" y="2249"/>
                </a:lnTo>
                <a:lnTo>
                  <a:pt x="542" y="2027"/>
                </a:lnTo>
                <a:lnTo>
                  <a:pt x="596" y="2027"/>
                </a:lnTo>
                <a:lnTo>
                  <a:pt x="596" y="2046"/>
                </a:lnTo>
                <a:lnTo>
                  <a:pt x="596" y="2046"/>
                </a:lnTo>
                <a:lnTo>
                  <a:pt x="601" y="2040"/>
                </a:lnTo>
                <a:lnTo>
                  <a:pt x="607" y="2035"/>
                </a:lnTo>
                <a:lnTo>
                  <a:pt x="613" y="2031"/>
                </a:lnTo>
                <a:lnTo>
                  <a:pt x="619" y="2028"/>
                </a:lnTo>
                <a:lnTo>
                  <a:pt x="625" y="2025"/>
                </a:lnTo>
                <a:lnTo>
                  <a:pt x="631" y="2024"/>
                </a:lnTo>
                <a:lnTo>
                  <a:pt x="639" y="2022"/>
                </a:lnTo>
                <a:lnTo>
                  <a:pt x="646" y="2021"/>
                </a:lnTo>
                <a:lnTo>
                  <a:pt x="646" y="2021"/>
                </a:lnTo>
                <a:lnTo>
                  <a:pt x="657" y="2022"/>
                </a:lnTo>
                <a:lnTo>
                  <a:pt x="668" y="2026"/>
                </a:lnTo>
                <a:lnTo>
                  <a:pt x="679" y="2030"/>
                </a:lnTo>
                <a:lnTo>
                  <a:pt x="688" y="2036"/>
                </a:lnTo>
                <a:lnTo>
                  <a:pt x="672" y="2089"/>
                </a:lnTo>
                <a:close/>
                <a:moveTo>
                  <a:pt x="241" y="2027"/>
                </a:moveTo>
                <a:lnTo>
                  <a:pt x="295" y="2027"/>
                </a:lnTo>
                <a:lnTo>
                  <a:pt x="232" y="2249"/>
                </a:lnTo>
                <a:lnTo>
                  <a:pt x="184" y="2249"/>
                </a:lnTo>
                <a:lnTo>
                  <a:pt x="160" y="2157"/>
                </a:lnTo>
                <a:lnTo>
                  <a:pt x="160" y="2157"/>
                </a:lnTo>
                <a:lnTo>
                  <a:pt x="148" y="2108"/>
                </a:lnTo>
                <a:lnTo>
                  <a:pt x="148" y="2108"/>
                </a:lnTo>
                <a:lnTo>
                  <a:pt x="142" y="2132"/>
                </a:lnTo>
                <a:lnTo>
                  <a:pt x="136" y="2158"/>
                </a:lnTo>
                <a:lnTo>
                  <a:pt x="110" y="2249"/>
                </a:lnTo>
                <a:lnTo>
                  <a:pt x="63" y="2249"/>
                </a:lnTo>
                <a:lnTo>
                  <a:pt x="63" y="2247"/>
                </a:lnTo>
                <a:lnTo>
                  <a:pt x="0" y="2027"/>
                </a:lnTo>
                <a:lnTo>
                  <a:pt x="57" y="2027"/>
                </a:lnTo>
                <a:lnTo>
                  <a:pt x="77" y="2110"/>
                </a:lnTo>
                <a:lnTo>
                  <a:pt x="77" y="2110"/>
                </a:lnTo>
                <a:lnTo>
                  <a:pt x="83" y="2136"/>
                </a:lnTo>
                <a:lnTo>
                  <a:pt x="88" y="2164"/>
                </a:lnTo>
                <a:lnTo>
                  <a:pt x="88" y="2164"/>
                </a:lnTo>
                <a:lnTo>
                  <a:pt x="95" y="2136"/>
                </a:lnTo>
                <a:lnTo>
                  <a:pt x="102" y="2108"/>
                </a:lnTo>
                <a:lnTo>
                  <a:pt x="125" y="2027"/>
                </a:lnTo>
                <a:lnTo>
                  <a:pt x="172" y="2027"/>
                </a:lnTo>
                <a:lnTo>
                  <a:pt x="195" y="2108"/>
                </a:lnTo>
                <a:lnTo>
                  <a:pt x="195" y="2108"/>
                </a:lnTo>
                <a:lnTo>
                  <a:pt x="202" y="2135"/>
                </a:lnTo>
                <a:lnTo>
                  <a:pt x="209" y="2165"/>
                </a:lnTo>
                <a:lnTo>
                  <a:pt x="209" y="2165"/>
                </a:lnTo>
                <a:lnTo>
                  <a:pt x="213" y="2139"/>
                </a:lnTo>
                <a:lnTo>
                  <a:pt x="220" y="2108"/>
                </a:lnTo>
                <a:lnTo>
                  <a:pt x="241" y="2027"/>
                </a:lnTo>
                <a:close/>
                <a:moveTo>
                  <a:pt x="406" y="2021"/>
                </a:moveTo>
                <a:lnTo>
                  <a:pt x="406" y="2021"/>
                </a:lnTo>
                <a:lnTo>
                  <a:pt x="396" y="2022"/>
                </a:lnTo>
                <a:lnTo>
                  <a:pt x="385" y="2024"/>
                </a:lnTo>
                <a:lnTo>
                  <a:pt x="375" y="2027"/>
                </a:lnTo>
                <a:lnTo>
                  <a:pt x="366" y="2030"/>
                </a:lnTo>
                <a:lnTo>
                  <a:pt x="358" y="2035"/>
                </a:lnTo>
                <a:lnTo>
                  <a:pt x="349" y="2040"/>
                </a:lnTo>
                <a:lnTo>
                  <a:pt x="341" y="2047"/>
                </a:lnTo>
                <a:lnTo>
                  <a:pt x="334" y="2054"/>
                </a:lnTo>
                <a:lnTo>
                  <a:pt x="328" y="2062"/>
                </a:lnTo>
                <a:lnTo>
                  <a:pt x="322" y="2071"/>
                </a:lnTo>
                <a:lnTo>
                  <a:pt x="317" y="2081"/>
                </a:lnTo>
                <a:lnTo>
                  <a:pt x="313" y="2091"/>
                </a:lnTo>
                <a:lnTo>
                  <a:pt x="310" y="2102"/>
                </a:lnTo>
                <a:lnTo>
                  <a:pt x="308" y="2113"/>
                </a:lnTo>
                <a:lnTo>
                  <a:pt x="306" y="2125"/>
                </a:lnTo>
                <a:lnTo>
                  <a:pt x="306" y="2138"/>
                </a:lnTo>
                <a:lnTo>
                  <a:pt x="306" y="2138"/>
                </a:lnTo>
                <a:lnTo>
                  <a:pt x="306" y="2150"/>
                </a:lnTo>
                <a:lnTo>
                  <a:pt x="308" y="2163"/>
                </a:lnTo>
                <a:lnTo>
                  <a:pt x="310" y="2174"/>
                </a:lnTo>
                <a:lnTo>
                  <a:pt x="313" y="2185"/>
                </a:lnTo>
                <a:lnTo>
                  <a:pt x="317" y="2194"/>
                </a:lnTo>
                <a:lnTo>
                  <a:pt x="322" y="2204"/>
                </a:lnTo>
                <a:lnTo>
                  <a:pt x="328" y="2213"/>
                </a:lnTo>
                <a:lnTo>
                  <a:pt x="334" y="2221"/>
                </a:lnTo>
                <a:lnTo>
                  <a:pt x="341" y="2229"/>
                </a:lnTo>
                <a:lnTo>
                  <a:pt x="349" y="2235"/>
                </a:lnTo>
                <a:lnTo>
                  <a:pt x="358" y="2241"/>
                </a:lnTo>
                <a:lnTo>
                  <a:pt x="366" y="2245"/>
                </a:lnTo>
                <a:lnTo>
                  <a:pt x="375" y="2249"/>
                </a:lnTo>
                <a:lnTo>
                  <a:pt x="385" y="2252"/>
                </a:lnTo>
                <a:lnTo>
                  <a:pt x="396" y="2253"/>
                </a:lnTo>
                <a:lnTo>
                  <a:pt x="406" y="2254"/>
                </a:lnTo>
                <a:lnTo>
                  <a:pt x="406" y="2254"/>
                </a:lnTo>
                <a:lnTo>
                  <a:pt x="417" y="2253"/>
                </a:lnTo>
                <a:lnTo>
                  <a:pt x="428" y="2252"/>
                </a:lnTo>
                <a:lnTo>
                  <a:pt x="438" y="2249"/>
                </a:lnTo>
                <a:lnTo>
                  <a:pt x="447" y="2245"/>
                </a:lnTo>
                <a:lnTo>
                  <a:pt x="456" y="2241"/>
                </a:lnTo>
                <a:lnTo>
                  <a:pt x="465" y="2235"/>
                </a:lnTo>
                <a:lnTo>
                  <a:pt x="472" y="2229"/>
                </a:lnTo>
                <a:lnTo>
                  <a:pt x="479" y="2221"/>
                </a:lnTo>
                <a:lnTo>
                  <a:pt x="486" y="2213"/>
                </a:lnTo>
                <a:lnTo>
                  <a:pt x="491" y="2204"/>
                </a:lnTo>
                <a:lnTo>
                  <a:pt x="496" y="2194"/>
                </a:lnTo>
                <a:lnTo>
                  <a:pt x="500" y="2185"/>
                </a:lnTo>
                <a:lnTo>
                  <a:pt x="503" y="2174"/>
                </a:lnTo>
                <a:lnTo>
                  <a:pt x="505" y="2163"/>
                </a:lnTo>
                <a:lnTo>
                  <a:pt x="508" y="2150"/>
                </a:lnTo>
                <a:lnTo>
                  <a:pt x="508" y="2138"/>
                </a:lnTo>
                <a:lnTo>
                  <a:pt x="508" y="2138"/>
                </a:lnTo>
                <a:lnTo>
                  <a:pt x="508" y="2125"/>
                </a:lnTo>
                <a:lnTo>
                  <a:pt x="505" y="2113"/>
                </a:lnTo>
                <a:lnTo>
                  <a:pt x="503" y="2102"/>
                </a:lnTo>
                <a:lnTo>
                  <a:pt x="500" y="2091"/>
                </a:lnTo>
                <a:lnTo>
                  <a:pt x="496" y="2081"/>
                </a:lnTo>
                <a:lnTo>
                  <a:pt x="491" y="2071"/>
                </a:lnTo>
                <a:lnTo>
                  <a:pt x="486" y="2062"/>
                </a:lnTo>
                <a:lnTo>
                  <a:pt x="479" y="2054"/>
                </a:lnTo>
                <a:lnTo>
                  <a:pt x="472" y="2047"/>
                </a:lnTo>
                <a:lnTo>
                  <a:pt x="465" y="2040"/>
                </a:lnTo>
                <a:lnTo>
                  <a:pt x="456" y="2035"/>
                </a:lnTo>
                <a:lnTo>
                  <a:pt x="447" y="2030"/>
                </a:lnTo>
                <a:lnTo>
                  <a:pt x="438" y="2027"/>
                </a:lnTo>
                <a:lnTo>
                  <a:pt x="428" y="2024"/>
                </a:lnTo>
                <a:lnTo>
                  <a:pt x="417" y="2022"/>
                </a:lnTo>
                <a:lnTo>
                  <a:pt x="406" y="2021"/>
                </a:lnTo>
                <a:lnTo>
                  <a:pt x="406" y="2021"/>
                </a:lnTo>
                <a:close/>
                <a:moveTo>
                  <a:pt x="406" y="2202"/>
                </a:moveTo>
                <a:lnTo>
                  <a:pt x="406" y="2202"/>
                </a:lnTo>
                <a:lnTo>
                  <a:pt x="396" y="2201"/>
                </a:lnTo>
                <a:lnTo>
                  <a:pt x="387" y="2198"/>
                </a:lnTo>
                <a:lnTo>
                  <a:pt x="381" y="2192"/>
                </a:lnTo>
                <a:lnTo>
                  <a:pt x="374" y="2185"/>
                </a:lnTo>
                <a:lnTo>
                  <a:pt x="369" y="2176"/>
                </a:lnTo>
                <a:lnTo>
                  <a:pt x="364" y="2165"/>
                </a:lnTo>
                <a:lnTo>
                  <a:pt x="362" y="2151"/>
                </a:lnTo>
                <a:lnTo>
                  <a:pt x="362" y="2138"/>
                </a:lnTo>
                <a:lnTo>
                  <a:pt x="362" y="2138"/>
                </a:lnTo>
                <a:lnTo>
                  <a:pt x="362" y="2124"/>
                </a:lnTo>
                <a:lnTo>
                  <a:pt x="364" y="2111"/>
                </a:lnTo>
                <a:lnTo>
                  <a:pt x="369" y="2101"/>
                </a:lnTo>
                <a:lnTo>
                  <a:pt x="374" y="2091"/>
                </a:lnTo>
                <a:lnTo>
                  <a:pt x="381" y="2083"/>
                </a:lnTo>
                <a:lnTo>
                  <a:pt x="387" y="2078"/>
                </a:lnTo>
                <a:lnTo>
                  <a:pt x="396" y="2074"/>
                </a:lnTo>
                <a:lnTo>
                  <a:pt x="406" y="2073"/>
                </a:lnTo>
                <a:lnTo>
                  <a:pt x="406" y="2073"/>
                </a:lnTo>
                <a:lnTo>
                  <a:pt x="416" y="2074"/>
                </a:lnTo>
                <a:lnTo>
                  <a:pt x="425" y="2078"/>
                </a:lnTo>
                <a:lnTo>
                  <a:pt x="433" y="2083"/>
                </a:lnTo>
                <a:lnTo>
                  <a:pt x="439" y="2091"/>
                </a:lnTo>
                <a:lnTo>
                  <a:pt x="445" y="2101"/>
                </a:lnTo>
                <a:lnTo>
                  <a:pt x="448" y="2111"/>
                </a:lnTo>
                <a:lnTo>
                  <a:pt x="450" y="2124"/>
                </a:lnTo>
                <a:lnTo>
                  <a:pt x="451" y="2138"/>
                </a:lnTo>
                <a:lnTo>
                  <a:pt x="451" y="2138"/>
                </a:lnTo>
                <a:lnTo>
                  <a:pt x="450" y="2151"/>
                </a:lnTo>
                <a:lnTo>
                  <a:pt x="448" y="2165"/>
                </a:lnTo>
                <a:lnTo>
                  <a:pt x="445" y="2176"/>
                </a:lnTo>
                <a:lnTo>
                  <a:pt x="439" y="2185"/>
                </a:lnTo>
                <a:lnTo>
                  <a:pt x="433" y="2192"/>
                </a:lnTo>
                <a:lnTo>
                  <a:pt x="425" y="2198"/>
                </a:lnTo>
                <a:lnTo>
                  <a:pt x="416" y="2201"/>
                </a:lnTo>
                <a:lnTo>
                  <a:pt x="406" y="2202"/>
                </a:lnTo>
                <a:lnTo>
                  <a:pt x="406" y="2202"/>
                </a:lnTo>
                <a:close/>
                <a:moveTo>
                  <a:pt x="2269" y="2089"/>
                </a:moveTo>
                <a:lnTo>
                  <a:pt x="2269" y="2089"/>
                </a:lnTo>
                <a:lnTo>
                  <a:pt x="2260" y="2084"/>
                </a:lnTo>
                <a:lnTo>
                  <a:pt x="2251" y="2080"/>
                </a:lnTo>
                <a:lnTo>
                  <a:pt x="2242" y="2078"/>
                </a:lnTo>
                <a:lnTo>
                  <a:pt x="2233" y="2076"/>
                </a:lnTo>
                <a:lnTo>
                  <a:pt x="2233" y="2076"/>
                </a:lnTo>
                <a:lnTo>
                  <a:pt x="2223" y="2078"/>
                </a:lnTo>
                <a:lnTo>
                  <a:pt x="2215" y="2080"/>
                </a:lnTo>
                <a:lnTo>
                  <a:pt x="2208" y="2084"/>
                </a:lnTo>
                <a:lnTo>
                  <a:pt x="2203" y="2090"/>
                </a:lnTo>
                <a:lnTo>
                  <a:pt x="2198" y="2096"/>
                </a:lnTo>
                <a:lnTo>
                  <a:pt x="2195" y="2105"/>
                </a:lnTo>
                <a:lnTo>
                  <a:pt x="2193" y="2116"/>
                </a:lnTo>
                <a:lnTo>
                  <a:pt x="2193" y="2128"/>
                </a:lnTo>
                <a:lnTo>
                  <a:pt x="2193" y="2249"/>
                </a:lnTo>
                <a:lnTo>
                  <a:pt x="2138" y="2249"/>
                </a:lnTo>
                <a:lnTo>
                  <a:pt x="2138" y="2027"/>
                </a:lnTo>
                <a:lnTo>
                  <a:pt x="2193" y="2027"/>
                </a:lnTo>
                <a:lnTo>
                  <a:pt x="2193" y="2046"/>
                </a:lnTo>
                <a:lnTo>
                  <a:pt x="2193" y="2046"/>
                </a:lnTo>
                <a:lnTo>
                  <a:pt x="2197" y="2040"/>
                </a:lnTo>
                <a:lnTo>
                  <a:pt x="2203" y="2035"/>
                </a:lnTo>
                <a:lnTo>
                  <a:pt x="2208" y="2031"/>
                </a:lnTo>
                <a:lnTo>
                  <a:pt x="2215" y="2028"/>
                </a:lnTo>
                <a:lnTo>
                  <a:pt x="2222" y="2025"/>
                </a:lnTo>
                <a:lnTo>
                  <a:pt x="2228" y="2024"/>
                </a:lnTo>
                <a:lnTo>
                  <a:pt x="2235" y="2022"/>
                </a:lnTo>
                <a:lnTo>
                  <a:pt x="2242" y="2021"/>
                </a:lnTo>
                <a:lnTo>
                  <a:pt x="2242" y="2021"/>
                </a:lnTo>
                <a:lnTo>
                  <a:pt x="2253" y="2022"/>
                </a:lnTo>
                <a:lnTo>
                  <a:pt x="2264" y="2026"/>
                </a:lnTo>
                <a:lnTo>
                  <a:pt x="2275" y="2030"/>
                </a:lnTo>
                <a:lnTo>
                  <a:pt x="2283" y="2036"/>
                </a:lnTo>
                <a:lnTo>
                  <a:pt x="2269" y="2089"/>
                </a:lnTo>
                <a:close/>
                <a:moveTo>
                  <a:pt x="1836" y="2027"/>
                </a:moveTo>
                <a:lnTo>
                  <a:pt x="1891" y="2027"/>
                </a:lnTo>
                <a:lnTo>
                  <a:pt x="1828" y="2249"/>
                </a:lnTo>
                <a:lnTo>
                  <a:pt x="1780" y="2249"/>
                </a:lnTo>
                <a:lnTo>
                  <a:pt x="1756" y="2157"/>
                </a:lnTo>
                <a:lnTo>
                  <a:pt x="1756" y="2157"/>
                </a:lnTo>
                <a:lnTo>
                  <a:pt x="1744" y="2108"/>
                </a:lnTo>
                <a:lnTo>
                  <a:pt x="1744" y="2108"/>
                </a:lnTo>
                <a:lnTo>
                  <a:pt x="1738" y="2132"/>
                </a:lnTo>
                <a:lnTo>
                  <a:pt x="1732" y="2158"/>
                </a:lnTo>
                <a:lnTo>
                  <a:pt x="1707" y="2249"/>
                </a:lnTo>
                <a:lnTo>
                  <a:pt x="1660" y="2249"/>
                </a:lnTo>
                <a:lnTo>
                  <a:pt x="1659" y="2247"/>
                </a:lnTo>
                <a:lnTo>
                  <a:pt x="1597" y="2027"/>
                </a:lnTo>
                <a:lnTo>
                  <a:pt x="1653" y="2027"/>
                </a:lnTo>
                <a:lnTo>
                  <a:pt x="1674" y="2110"/>
                </a:lnTo>
                <a:lnTo>
                  <a:pt x="1674" y="2110"/>
                </a:lnTo>
                <a:lnTo>
                  <a:pt x="1680" y="2136"/>
                </a:lnTo>
                <a:lnTo>
                  <a:pt x="1685" y="2164"/>
                </a:lnTo>
                <a:lnTo>
                  <a:pt x="1685" y="2164"/>
                </a:lnTo>
                <a:lnTo>
                  <a:pt x="1691" y="2136"/>
                </a:lnTo>
                <a:lnTo>
                  <a:pt x="1699" y="2108"/>
                </a:lnTo>
                <a:lnTo>
                  <a:pt x="1722" y="2027"/>
                </a:lnTo>
                <a:lnTo>
                  <a:pt x="1768" y="2027"/>
                </a:lnTo>
                <a:lnTo>
                  <a:pt x="1791" y="2108"/>
                </a:lnTo>
                <a:lnTo>
                  <a:pt x="1791" y="2108"/>
                </a:lnTo>
                <a:lnTo>
                  <a:pt x="1798" y="2135"/>
                </a:lnTo>
                <a:lnTo>
                  <a:pt x="1804" y="2165"/>
                </a:lnTo>
                <a:lnTo>
                  <a:pt x="1804" y="2165"/>
                </a:lnTo>
                <a:lnTo>
                  <a:pt x="1810" y="2139"/>
                </a:lnTo>
                <a:lnTo>
                  <a:pt x="1817" y="2108"/>
                </a:lnTo>
                <a:lnTo>
                  <a:pt x="1836" y="2027"/>
                </a:lnTo>
                <a:close/>
                <a:moveTo>
                  <a:pt x="2002" y="2021"/>
                </a:moveTo>
                <a:lnTo>
                  <a:pt x="2002" y="2021"/>
                </a:lnTo>
                <a:lnTo>
                  <a:pt x="1992" y="2022"/>
                </a:lnTo>
                <a:lnTo>
                  <a:pt x="1981" y="2024"/>
                </a:lnTo>
                <a:lnTo>
                  <a:pt x="1971" y="2027"/>
                </a:lnTo>
                <a:lnTo>
                  <a:pt x="1962" y="2030"/>
                </a:lnTo>
                <a:lnTo>
                  <a:pt x="1953" y="2035"/>
                </a:lnTo>
                <a:lnTo>
                  <a:pt x="1945" y="2041"/>
                </a:lnTo>
                <a:lnTo>
                  <a:pt x="1937" y="2047"/>
                </a:lnTo>
                <a:lnTo>
                  <a:pt x="1930" y="2054"/>
                </a:lnTo>
                <a:lnTo>
                  <a:pt x="1924" y="2062"/>
                </a:lnTo>
                <a:lnTo>
                  <a:pt x="1918" y="2071"/>
                </a:lnTo>
                <a:lnTo>
                  <a:pt x="1913" y="2081"/>
                </a:lnTo>
                <a:lnTo>
                  <a:pt x="1909" y="2091"/>
                </a:lnTo>
                <a:lnTo>
                  <a:pt x="1906" y="2102"/>
                </a:lnTo>
                <a:lnTo>
                  <a:pt x="1903" y="2114"/>
                </a:lnTo>
                <a:lnTo>
                  <a:pt x="1902" y="2125"/>
                </a:lnTo>
                <a:lnTo>
                  <a:pt x="1902" y="2138"/>
                </a:lnTo>
                <a:lnTo>
                  <a:pt x="1902" y="2138"/>
                </a:lnTo>
                <a:lnTo>
                  <a:pt x="1902" y="2150"/>
                </a:lnTo>
                <a:lnTo>
                  <a:pt x="1903" y="2163"/>
                </a:lnTo>
                <a:lnTo>
                  <a:pt x="1906" y="2174"/>
                </a:lnTo>
                <a:lnTo>
                  <a:pt x="1909" y="2185"/>
                </a:lnTo>
                <a:lnTo>
                  <a:pt x="1913" y="2194"/>
                </a:lnTo>
                <a:lnTo>
                  <a:pt x="1918" y="2204"/>
                </a:lnTo>
                <a:lnTo>
                  <a:pt x="1924" y="2213"/>
                </a:lnTo>
                <a:lnTo>
                  <a:pt x="1930" y="2221"/>
                </a:lnTo>
                <a:lnTo>
                  <a:pt x="1937" y="2229"/>
                </a:lnTo>
                <a:lnTo>
                  <a:pt x="1945" y="2235"/>
                </a:lnTo>
                <a:lnTo>
                  <a:pt x="1953" y="2241"/>
                </a:lnTo>
                <a:lnTo>
                  <a:pt x="1962" y="2245"/>
                </a:lnTo>
                <a:lnTo>
                  <a:pt x="1971" y="2249"/>
                </a:lnTo>
                <a:lnTo>
                  <a:pt x="1981" y="2252"/>
                </a:lnTo>
                <a:lnTo>
                  <a:pt x="1992" y="2253"/>
                </a:lnTo>
                <a:lnTo>
                  <a:pt x="2002" y="2254"/>
                </a:lnTo>
                <a:lnTo>
                  <a:pt x="2002" y="2254"/>
                </a:lnTo>
                <a:lnTo>
                  <a:pt x="2013" y="2253"/>
                </a:lnTo>
                <a:lnTo>
                  <a:pt x="2024" y="2252"/>
                </a:lnTo>
                <a:lnTo>
                  <a:pt x="2034" y="2249"/>
                </a:lnTo>
                <a:lnTo>
                  <a:pt x="2043" y="2245"/>
                </a:lnTo>
                <a:lnTo>
                  <a:pt x="2052" y="2241"/>
                </a:lnTo>
                <a:lnTo>
                  <a:pt x="2061" y="2235"/>
                </a:lnTo>
                <a:lnTo>
                  <a:pt x="2068" y="2229"/>
                </a:lnTo>
                <a:lnTo>
                  <a:pt x="2075" y="2221"/>
                </a:lnTo>
                <a:lnTo>
                  <a:pt x="2081" y="2213"/>
                </a:lnTo>
                <a:lnTo>
                  <a:pt x="2087" y="2204"/>
                </a:lnTo>
                <a:lnTo>
                  <a:pt x="2091" y="2194"/>
                </a:lnTo>
                <a:lnTo>
                  <a:pt x="2096" y="2185"/>
                </a:lnTo>
                <a:lnTo>
                  <a:pt x="2099" y="2174"/>
                </a:lnTo>
                <a:lnTo>
                  <a:pt x="2101" y="2163"/>
                </a:lnTo>
                <a:lnTo>
                  <a:pt x="2104" y="2150"/>
                </a:lnTo>
                <a:lnTo>
                  <a:pt x="2104" y="2138"/>
                </a:lnTo>
                <a:lnTo>
                  <a:pt x="2104" y="2138"/>
                </a:lnTo>
                <a:lnTo>
                  <a:pt x="2104" y="2125"/>
                </a:lnTo>
                <a:lnTo>
                  <a:pt x="2101" y="2114"/>
                </a:lnTo>
                <a:lnTo>
                  <a:pt x="2099" y="2102"/>
                </a:lnTo>
                <a:lnTo>
                  <a:pt x="2096" y="2091"/>
                </a:lnTo>
                <a:lnTo>
                  <a:pt x="2091" y="2081"/>
                </a:lnTo>
                <a:lnTo>
                  <a:pt x="2087" y="2071"/>
                </a:lnTo>
                <a:lnTo>
                  <a:pt x="2081" y="2062"/>
                </a:lnTo>
                <a:lnTo>
                  <a:pt x="2075" y="2054"/>
                </a:lnTo>
                <a:lnTo>
                  <a:pt x="2068" y="2047"/>
                </a:lnTo>
                <a:lnTo>
                  <a:pt x="2061" y="2041"/>
                </a:lnTo>
                <a:lnTo>
                  <a:pt x="2052" y="2035"/>
                </a:lnTo>
                <a:lnTo>
                  <a:pt x="2043" y="2030"/>
                </a:lnTo>
                <a:lnTo>
                  <a:pt x="2034" y="2027"/>
                </a:lnTo>
                <a:lnTo>
                  <a:pt x="2024" y="2024"/>
                </a:lnTo>
                <a:lnTo>
                  <a:pt x="2013" y="2022"/>
                </a:lnTo>
                <a:lnTo>
                  <a:pt x="2002" y="2021"/>
                </a:lnTo>
                <a:lnTo>
                  <a:pt x="2002" y="2021"/>
                </a:lnTo>
                <a:close/>
                <a:moveTo>
                  <a:pt x="2002" y="2202"/>
                </a:moveTo>
                <a:lnTo>
                  <a:pt x="2002" y="2202"/>
                </a:lnTo>
                <a:lnTo>
                  <a:pt x="1992" y="2201"/>
                </a:lnTo>
                <a:lnTo>
                  <a:pt x="1984" y="2198"/>
                </a:lnTo>
                <a:lnTo>
                  <a:pt x="1977" y="2192"/>
                </a:lnTo>
                <a:lnTo>
                  <a:pt x="1970" y="2185"/>
                </a:lnTo>
                <a:lnTo>
                  <a:pt x="1964" y="2176"/>
                </a:lnTo>
                <a:lnTo>
                  <a:pt x="1960" y="2165"/>
                </a:lnTo>
                <a:lnTo>
                  <a:pt x="1958" y="2151"/>
                </a:lnTo>
                <a:lnTo>
                  <a:pt x="1958" y="2138"/>
                </a:lnTo>
                <a:lnTo>
                  <a:pt x="1958" y="2138"/>
                </a:lnTo>
                <a:lnTo>
                  <a:pt x="1958" y="2124"/>
                </a:lnTo>
                <a:lnTo>
                  <a:pt x="1960" y="2112"/>
                </a:lnTo>
                <a:lnTo>
                  <a:pt x="1964" y="2101"/>
                </a:lnTo>
                <a:lnTo>
                  <a:pt x="1970" y="2091"/>
                </a:lnTo>
                <a:lnTo>
                  <a:pt x="1977" y="2083"/>
                </a:lnTo>
                <a:lnTo>
                  <a:pt x="1984" y="2078"/>
                </a:lnTo>
                <a:lnTo>
                  <a:pt x="1992" y="2074"/>
                </a:lnTo>
                <a:lnTo>
                  <a:pt x="2002" y="2073"/>
                </a:lnTo>
                <a:lnTo>
                  <a:pt x="2002" y="2073"/>
                </a:lnTo>
                <a:lnTo>
                  <a:pt x="2012" y="2074"/>
                </a:lnTo>
                <a:lnTo>
                  <a:pt x="2021" y="2078"/>
                </a:lnTo>
                <a:lnTo>
                  <a:pt x="2029" y="2083"/>
                </a:lnTo>
                <a:lnTo>
                  <a:pt x="2035" y="2091"/>
                </a:lnTo>
                <a:lnTo>
                  <a:pt x="2041" y="2101"/>
                </a:lnTo>
                <a:lnTo>
                  <a:pt x="2044" y="2112"/>
                </a:lnTo>
                <a:lnTo>
                  <a:pt x="2046" y="2124"/>
                </a:lnTo>
                <a:lnTo>
                  <a:pt x="2047" y="2138"/>
                </a:lnTo>
                <a:lnTo>
                  <a:pt x="2047" y="2138"/>
                </a:lnTo>
                <a:lnTo>
                  <a:pt x="2046" y="2151"/>
                </a:lnTo>
                <a:lnTo>
                  <a:pt x="2044" y="2165"/>
                </a:lnTo>
                <a:lnTo>
                  <a:pt x="2041" y="2176"/>
                </a:lnTo>
                <a:lnTo>
                  <a:pt x="2035" y="2185"/>
                </a:lnTo>
                <a:lnTo>
                  <a:pt x="2029" y="2192"/>
                </a:lnTo>
                <a:lnTo>
                  <a:pt x="2021" y="2198"/>
                </a:lnTo>
                <a:lnTo>
                  <a:pt x="2012" y="2201"/>
                </a:lnTo>
                <a:lnTo>
                  <a:pt x="2002" y="2202"/>
                </a:lnTo>
                <a:lnTo>
                  <a:pt x="2002" y="2202"/>
                </a:lnTo>
                <a:close/>
                <a:moveTo>
                  <a:pt x="837" y="2100"/>
                </a:moveTo>
                <a:lnTo>
                  <a:pt x="904" y="2249"/>
                </a:lnTo>
                <a:lnTo>
                  <a:pt x="843" y="2249"/>
                </a:lnTo>
                <a:lnTo>
                  <a:pt x="797" y="2146"/>
                </a:lnTo>
                <a:lnTo>
                  <a:pt x="767" y="2182"/>
                </a:lnTo>
                <a:lnTo>
                  <a:pt x="767" y="2249"/>
                </a:lnTo>
                <a:lnTo>
                  <a:pt x="713" y="2249"/>
                </a:lnTo>
                <a:lnTo>
                  <a:pt x="713" y="1962"/>
                </a:lnTo>
                <a:lnTo>
                  <a:pt x="767" y="1934"/>
                </a:lnTo>
                <a:lnTo>
                  <a:pt x="767" y="2112"/>
                </a:lnTo>
                <a:lnTo>
                  <a:pt x="767" y="2112"/>
                </a:lnTo>
                <a:lnTo>
                  <a:pt x="788" y="2083"/>
                </a:lnTo>
                <a:lnTo>
                  <a:pt x="832" y="2027"/>
                </a:lnTo>
                <a:lnTo>
                  <a:pt x="896" y="2027"/>
                </a:lnTo>
                <a:lnTo>
                  <a:pt x="837" y="2100"/>
                </a:lnTo>
                <a:close/>
                <a:moveTo>
                  <a:pt x="1097" y="2249"/>
                </a:moveTo>
                <a:lnTo>
                  <a:pt x="1042" y="2249"/>
                </a:lnTo>
                <a:lnTo>
                  <a:pt x="1042" y="2027"/>
                </a:lnTo>
                <a:lnTo>
                  <a:pt x="1097" y="2027"/>
                </a:lnTo>
                <a:lnTo>
                  <a:pt x="1097" y="2046"/>
                </a:lnTo>
                <a:lnTo>
                  <a:pt x="1097" y="2046"/>
                </a:lnTo>
                <a:lnTo>
                  <a:pt x="1103" y="2040"/>
                </a:lnTo>
                <a:lnTo>
                  <a:pt x="1108" y="2036"/>
                </a:lnTo>
                <a:lnTo>
                  <a:pt x="1115" y="2031"/>
                </a:lnTo>
                <a:lnTo>
                  <a:pt x="1121" y="2028"/>
                </a:lnTo>
                <a:lnTo>
                  <a:pt x="1129" y="2026"/>
                </a:lnTo>
                <a:lnTo>
                  <a:pt x="1137" y="2024"/>
                </a:lnTo>
                <a:lnTo>
                  <a:pt x="1144" y="2022"/>
                </a:lnTo>
                <a:lnTo>
                  <a:pt x="1153" y="2021"/>
                </a:lnTo>
                <a:lnTo>
                  <a:pt x="1153" y="2021"/>
                </a:lnTo>
                <a:lnTo>
                  <a:pt x="1163" y="2022"/>
                </a:lnTo>
                <a:lnTo>
                  <a:pt x="1172" y="2024"/>
                </a:lnTo>
                <a:lnTo>
                  <a:pt x="1180" y="2026"/>
                </a:lnTo>
                <a:lnTo>
                  <a:pt x="1189" y="2028"/>
                </a:lnTo>
                <a:lnTo>
                  <a:pt x="1195" y="2032"/>
                </a:lnTo>
                <a:lnTo>
                  <a:pt x="1202" y="2037"/>
                </a:lnTo>
                <a:lnTo>
                  <a:pt x="1208" y="2041"/>
                </a:lnTo>
                <a:lnTo>
                  <a:pt x="1214" y="2048"/>
                </a:lnTo>
                <a:lnTo>
                  <a:pt x="1218" y="2054"/>
                </a:lnTo>
                <a:lnTo>
                  <a:pt x="1223" y="2062"/>
                </a:lnTo>
                <a:lnTo>
                  <a:pt x="1226" y="2070"/>
                </a:lnTo>
                <a:lnTo>
                  <a:pt x="1229" y="2080"/>
                </a:lnTo>
                <a:lnTo>
                  <a:pt x="1232" y="2090"/>
                </a:lnTo>
                <a:lnTo>
                  <a:pt x="1233" y="2100"/>
                </a:lnTo>
                <a:lnTo>
                  <a:pt x="1234" y="2111"/>
                </a:lnTo>
                <a:lnTo>
                  <a:pt x="1235" y="2123"/>
                </a:lnTo>
                <a:lnTo>
                  <a:pt x="1235" y="2249"/>
                </a:lnTo>
                <a:lnTo>
                  <a:pt x="1180" y="2249"/>
                </a:lnTo>
                <a:lnTo>
                  <a:pt x="1180" y="2126"/>
                </a:lnTo>
                <a:lnTo>
                  <a:pt x="1180" y="2126"/>
                </a:lnTo>
                <a:lnTo>
                  <a:pt x="1179" y="2114"/>
                </a:lnTo>
                <a:lnTo>
                  <a:pt x="1178" y="2102"/>
                </a:lnTo>
                <a:lnTo>
                  <a:pt x="1174" y="2093"/>
                </a:lnTo>
                <a:lnTo>
                  <a:pt x="1170" y="2085"/>
                </a:lnTo>
                <a:lnTo>
                  <a:pt x="1164" y="2080"/>
                </a:lnTo>
                <a:lnTo>
                  <a:pt x="1158" y="2075"/>
                </a:lnTo>
                <a:lnTo>
                  <a:pt x="1149" y="2073"/>
                </a:lnTo>
                <a:lnTo>
                  <a:pt x="1139" y="2072"/>
                </a:lnTo>
                <a:lnTo>
                  <a:pt x="1139" y="2072"/>
                </a:lnTo>
                <a:lnTo>
                  <a:pt x="1130" y="2073"/>
                </a:lnTo>
                <a:lnTo>
                  <a:pt x="1121" y="2075"/>
                </a:lnTo>
                <a:lnTo>
                  <a:pt x="1114" y="2080"/>
                </a:lnTo>
                <a:lnTo>
                  <a:pt x="1108" y="2086"/>
                </a:lnTo>
                <a:lnTo>
                  <a:pt x="1104" y="2093"/>
                </a:lnTo>
                <a:lnTo>
                  <a:pt x="1100" y="2103"/>
                </a:lnTo>
                <a:lnTo>
                  <a:pt x="1098" y="2114"/>
                </a:lnTo>
                <a:lnTo>
                  <a:pt x="1097" y="2126"/>
                </a:lnTo>
                <a:lnTo>
                  <a:pt x="1097" y="2249"/>
                </a:lnTo>
                <a:close/>
                <a:moveTo>
                  <a:pt x="1408" y="2042"/>
                </a:moveTo>
                <a:lnTo>
                  <a:pt x="1408" y="2042"/>
                </a:lnTo>
                <a:lnTo>
                  <a:pt x="1403" y="2038"/>
                </a:lnTo>
                <a:lnTo>
                  <a:pt x="1397" y="2033"/>
                </a:lnTo>
                <a:lnTo>
                  <a:pt x="1392" y="2030"/>
                </a:lnTo>
                <a:lnTo>
                  <a:pt x="1385" y="2027"/>
                </a:lnTo>
                <a:lnTo>
                  <a:pt x="1378" y="2025"/>
                </a:lnTo>
                <a:lnTo>
                  <a:pt x="1372" y="2024"/>
                </a:lnTo>
                <a:lnTo>
                  <a:pt x="1365" y="2022"/>
                </a:lnTo>
                <a:lnTo>
                  <a:pt x="1359" y="2021"/>
                </a:lnTo>
                <a:lnTo>
                  <a:pt x="1359" y="2021"/>
                </a:lnTo>
                <a:lnTo>
                  <a:pt x="1349" y="2022"/>
                </a:lnTo>
                <a:lnTo>
                  <a:pt x="1340" y="2024"/>
                </a:lnTo>
                <a:lnTo>
                  <a:pt x="1331" y="2026"/>
                </a:lnTo>
                <a:lnTo>
                  <a:pt x="1322" y="2030"/>
                </a:lnTo>
                <a:lnTo>
                  <a:pt x="1314" y="2033"/>
                </a:lnTo>
                <a:lnTo>
                  <a:pt x="1308" y="2039"/>
                </a:lnTo>
                <a:lnTo>
                  <a:pt x="1301" y="2046"/>
                </a:lnTo>
                <a:lnTo>
                  <a:pt x="1295" y="2052"/>
                </a:lnTo>
                <a:lnTo>
                  <a:pt x="1289" y="2060"/>
                </a:lnTo>
                <a:lnTo>
                  <a:pt x="1285" y="2069"/>
                </a:lnTo>
                <a:lnTo>
                  <a:pt x="1280" y="2078"/>
                </a:lnTo>
                <a:lnTo>
                  <a:pt x="1277" y="2089"/>
                </a:lnTo>
                <a:lnTo>
                  <a:pt x="1275" y="2099"/>
                </a:lnTo>
                <a:lnTo>
                  <a:pt x="1273" y="2111"/>
                </a:lnTo>
                <a:lnTo>
                  <a:pt x="1271" y="2123"/>
                </a:lnTo>
                <a:lnTo>
                  <a:pt x="1271" y="2135"/>
                </a:lnTo>
                <a:lnTo>
                  <a:pt x="1271" y="2135"/>
                </a:lnTo>
                <a:lnTo>
                  <a:pt x="1271" y="2149"/>
                </a:lnTo>
                <a:lnTo>
                  <a:pt x="1273" y="2161"/>
                </a:lnTo>
                <a:lnTo>
                  <a:pt x="1275" y="2174"/>
                </a:lnTo>
                <a:lnTo>
                  <a:pt x="1277" y="2186"/>
                </a:lnTo>
                <a:lnTo>
                  <a:pt x="1280" y="2196"/>
                </a:lnTo>
                <a:lnTo>
                  <a:pt x="1285" y="2206"/>
                </a:lnTo>
                <a:lnTo>
                  <a:pt x="1289" y="2214"/>
                </a:lnTo>
                <a:lnTo>
                  <a:pt x="1295" y="2222"/>
                </a:lnTo>
                <a:lnTo>
                  <a:pt x="1300" y="2230"/>
                </a:lnTo>
                <a:lnTo>
                  <a:pt x="1307" y="2235"/>
                </a:lnTo>
                <a:lnTo>
                  <a:pt x="1313" y="2241"/>
                </a:lnTo>
                <a:lnTo>
                  <a:pt x="1321" y="2245"/>
                </a:lnTo>
                <a:lnTo>
                  <a:pt x="1330" y="2249"/>
                </a:lnTo>
                <a:lnTo>
                  <a:pt x="1339" y="2252"/>
                </a:lnTo>
                <a:lnTo>
                  <a:pt x="1348" y="2253"/>
                </a:lnTo>
                <a:lnTo>
                  <a:pt x="1357" y="2254"/>
                </a:lnTo>
                <a:lnTo>
                  <a:pt x="1357" y="2254"/>
                </a:lnTo>
                <a:lnTo>
                  <a:pt x="1364" y="2253"/>
                </a:lnTo>
                <a:lnTo>
                  <a:pt x="1372" y="2252"/>
                </a:lnTo>
                <a:lnTo>
                  <a:pt x="1378" y="2251"/>
                </a:lnTo>
                <a:lnTo>
                  <a:pt x="1385" y="2249"/>
                </a:lnTo>
                <a:lnTo>
                  <a:pt x="1391" y="2245"/>
                </a:lnTo>
                <a:lnTo>
                  <a:pt x="1397" y="2242"/>
                </a:lnTo>
                <a:lnTo>
                  <a:pt x="1403" y="2238"/>
                </a:lnTo>
                <a:lnTo>
                  <a:pt x="1408" y="2232"/>
                </a:lnTo>
                <a:lnTo>
                  <a:pt x="1408" y="2238"/>
                </a:lnTo>
                <a:lnTo>
                  <a:pt x="1408" y="2238"/>
                </a:lnTo>
                <a:lnTo>
                  <a:pt x="1408" y="2246"/>
                </a:lnTo>
                <a:lnTo>
                  <a:pt x="1407" y="2256"/>
                </a:lnTo>
                <a:lnTo>
                  <a:pt x="1404" y="2266"/>
                </a:lnTo>
                <a:lnTo>
                  <a:pt x="1402" y="2271"/>
                </a:lnTo>
                <a:lnTo>
                  <a:pt x="1399" y="2275"/>
                </a:lnTo>
                <a:lnTo>
                  <a:pt x="1395" y="2279"/>
                </a:lnTo>
                <a:lnTo>
                  <a:pt x="1391" y="2284"/>
                </a:lnTo>
                <a:lnTo>
                  <a:pt x="1385" y="2287"/>
                </a:lnTo>
                <a:lnTo>
                  <a:pt x="1378" y="2290"/>
                </a:lnTo>
                <a:lnTo>
                  <a:pt x="1370" y="2293"/>
                </a:lnTo>
                <a:lnTo>
                  <a:pt x="1361" y="2295"/>
                </a:lnTo>
                <a:lnTo>
                  <a:pt x="1350" y="2296"/>
                </a:lnTo>
                <a:lnTo>
                  <a:pt x="1337" y="2296"/>
                </a:lnTo>
                <a:lnTo>
                  <a:pt x="1334" y="2296"/>
                </a:lnTo>
                <a:lnTo>
                  <a:pt x="1354" y="2339"/>
                </a:lnTo>
                <a:lnTo>
                  <a:pt x="1355" y="2339"/>
                </a:lnTo>
                <a:lnTo>
                  <a:pt x="1355" y="2339"/>
                </a:lnTo>
                <a:lnTo>
                  <a:pt x="1369" y="2339"/>
                </a:lnTo>
                <a:lnTo>
                  <a:pt x="1381" y="2338"/>
                </a:lnTo>
                <a:lnTo>
                  <a:pt x="1392" y="2335"/>
                </a:lnTo>
                <a:lnTo>
                  <a:pt x="1403" y="2332"/>
                </a:lnTo>
                <a:lnTo>
                  <a:pt x="1413" y="2328"/>
                </a:lnTo>
                <a:lnTo>
                  <a:pt x="1421" y="2324"/>
                </a:lnTo>
                <a:lnTo>
                  <a:pt x="1429" y="2318"/>
                </a:lnTo>
                <a:lnTo>
                  <a:pt x="1436" y="2311"/>
                </a:lnTo>
                <a:lnTo>
                  <a:pt x="1442" y="2304"/>
                </a:lnTo>
                <a:lnTo>
                  <a:pt x="1448" y="2296"/>
                </a:lnTo>
                <a:lnTo>
                  <a:pt x="1452" y="2286"/>
                </a:lnTo>
                <a:lnTo>
                  <a:pt x="1456" y="2276"/>
                </a:lnTo>
                <a:lnTo>
                  <a:pt x="1459" y="2266"/>
                </a:lnTo>
                <a:lnTo>
                  <a:pt x="1461" y="2254"/>
                </a:lnTo>
                <a:lnTo>
                  <a:pt x="1462" y="2242"/>
                </a:lnTo>
                <a:lnTo>
                  <a:pt x="1462" y="2229"/>
                </a:lnTo>
                <a:lnTo>
                  <a:pt x="1462" y="2027"/>
                </a:lnTo>
                <a:lnTo>
                  <a:pt x="1408" y="2027"/>
                </a:lnTo>
                <a:lnTo>
                  <a:pt x="1408" y="2042"/>
                </a:lnTo>
                <a:close/>
                <a:moveTo>
                  <a:pt x="1408" y="2094"/>
                </a:moveTo>
                <a:lnTo>
                  <a:pt x="1408" y="2181"/>
                </a:lnTo>
                <a:lnTo>
                  <a:pt x="1408" y="2181"/>
                </a:lnTo>
                <a:lnTo>
                  <a:pt x="1401" y="2189"/>
                </a:lnTo>
                <a:lnTo>
                  <a:pt x="1393" y="2197"/>
                </a:lnTo>
                <a:lnTo>
                  <a:pt x="1387" y="2199"/>
                </a:lnTo>
                <a:lnTo>
                  <a:pt x="1382" y="2201"/>
                </a:lnTo>
                <a:lnTo>
                  <a:pt x="1376" y="2202"/>
                </a:lnTo>
                <a:lnTo>
                  <a:pt x="1369" y="2203"/>
                </a:lnTo>
                <a:lnTo>
                  <a:pt x="1369" y="2203"/>
                </a:lnTo>
                <a:lnTo>
                  <a:pt x="1362" y="2202"/>
                </a:lnTo>
                <a:lnTo>
                  <a:pt x="1354" y="2200"/>
                </a:lnTo>
                <a:lnTo>
                  <a:pt x="1348" y="2197"/>
                </a:lnTo>
                <a:lnTo>
                  <a:pt x="1341" y="2190"/>
                </a:lnTo>
                <a:lnTo>
                  <a:pt x="1335" y="2181"/>
                </a:lnTo>
                <a:lnTo>
                  <a:pt x="1331" y="2169"/>
                </a:lnTo>
                <a:lnTo>
                  <a:pt x="1329" y="2154"/>
                </a:lnTo>
                <a:lnTo>
                  <a:pt x="1328" y="2134"/>
                </a:lnTo>
                <a:lnTo>
                  <a:pt x="1328" y="2134"/>
                </a:lnTo>
                <a:lnTo>
                  <a:pt x="1329" y="2117"/>
                </a:lnTo>
                <a:lnTo>
                  <a:pt x="1331" y="2103"/>
                </a:lnTo>
                <a:lnTo>
                  <a:pt x="1335" y="2092"/>
                </a:lnTo>
                <a:lnTo>
                  <a:pt x="1341" y="2084"/>
                </a:lnTo>
                <a:lnTo>
                  <a:pt x="1348" y="2079"/>
                </a:lnTo>
                <a:lnTo>
                  <a:pt x="1354" y="2074"/>
                </a:lnTo>
                <a:lnTo>
                  <a:pt x="1362" y="2073"/>
                </a:lnTo>
                <a:lnTo>
                  <a:pt x="1369" y="2072"/>
                </a:lnTo>
                <a:lnTo>
                  <a:pt x="1369" y="2072"/>
                </a:lnTo>
                <a:lnTo>
                  <a:pt x="1376" y="2073"/>
                </a:lnTo>
                <a:lnTo>
                  <a:pt x="1383" y="2074"/>
                </a:lnTo>
                <a:lnTo>
                  <a:pt x="1388" y="2076"/>
                </a:lnTo>
                <a:lnTo>
                  <a:pt x="1394" y="2080"/>
                </a:lnTo>
                <a:lnTo>
                  <a:pt x="1398" y="2083"/>
                </a:lnTo>
                <a:lnTo>
                  <a:pt x="1402" y="2086"/>
                </a:lnTo>
                <a:lnTo>
                  <a:pt x="1408" y="2094"/>
                </a:lnTo>
                <a:lnTo>
                  <a:pt x="1408" y="2094"/>
                </a:lnTo>
                <a:close/>
                <a:moveTo>
                  <a:pt x="938" y="2027"/>
                </a:moveTo>
                <a:lnTo>
                  <a:pt x="993" y="2027"/>
                </a:lnTo>
                <a:lnTo>
                  <a:pt x="993" y="2123"/>
                </a:lnTo>
                <a:lnTo>
                  <a:pt x="993" y="2249"/>
                </a:lnTo>
                <a:lnTo>
                  <a:pt x="938" y="2249"/>
                </a:lnTo>
                <a:lnTo>
                  <a:pt x="938" y="2027"/>
                </a:lnTo>
                <a:close/>
                <a:moveTo>
                  <a:pt x="993" y="1967"/>
                </a:moveTo>
                <a:lnTo>
                  <a:pt x="993" y="1995"/>
                </a:lnTo>
                <a:lnTo>
                  <a:pt x="938" y="1995"/>
                </a:lnTo>
                <a:lnTo>
                  <a:pt x="938" y="1940"/>
                </a:lnTo>
                <a:lnTo>
                  <a:pt x="993" y="1940"/>
                </a:lnTo>
                <a:lnTo>
                  <a:pt x="993" y="1967"/>
                </a:lnTo>
                <a:close/>
                <a:moveTo>
                  <a:pt x="2309" y="1962"/>
                </a:moveTo>
                <a:lnTo>
                  <a:pt x="2364" y="1934"/>
                </a:lnTo>
                <a:lnTo>
                  <a:pt x="2364" y="2127"/>
                </a:lnTo>
                <a:lnTo>
                  <a:pt x="2364" y="2249"/>
                </a:lnTo>
                <a:lnTo>
                  <a:pt x="2309" y="2249"/>
                </a:lnTo>
                <a:lnTo>
                  <a:pt x="2309" y="1962"/>
                </a:lnTo>
                <a:close/>
                <a:moveTo>
                  <a:pt x="397" y="757"/>
                </a:moveTo>
                <a:lnTo>
                  <a:pt x="850" y="757"/>
                </a:lnTo>
                <a:lnTo>
                  <a:pt x="850" y="495"/>
                </a:lnTo>
                <a:lnTo>
                  <a:pt x="397" y="495"/>
                </a:lnTo>
                <a:lnTo>
                  <a:pt x="397" y="288"/>
                </a:lnTo>
                <a:lnTo>
                  <a:pt x="898" y="288"/>
                </a:lnTo>
                <a:lnTo>
                  <a:pt x="732" y="0"/>
                </a:lnTo>
                <a:lnTo>
                  <a:pt x="22" y="0"/>
                </a:lnTo>
                <a:lnTo>
                  <a:pt x="22" y="1251"/>
                </a:lnTo>
                <a:lnTo>
                  <a:pt x="1023" y="1251"/>
                </a:lnTo>
                <a:lnTo>
                  <a:pt x="1023" y="963"/>
                </a:lnTo>
                <a:lnTo>
                  <a:pt x="397" y="963"/>
                </a:lnTo>
                <a:lnTo>
                  <a:pt x="397" y="757"/>
                </a:lnTo>
                <a:close/>
                <a:moveTo>
                  <a:pt x="1690" y="0"/>
                </a:moveTo>
                <a:lnTo>
                  <a:pt x="1477" y="409"/>
                </a:lnTo>
                <a:lnTo>
                  <a:pt x="1265" y="0"/>
                </a:lnTo>
                <a:lnTo>
                  <a:pt x="850" y="0"/>
                </a:lnTo>
                <a:lnTo>
                  <a:pt x="1287" y="757"/>
                </a:lnTo>
                <a:lnTo>
                  <a:pt x="1287" y="1251"/>
                </a:lnTo>
                <a:lnTo>
                  <a:pt x="1661" y="1251"/>
                </a:lnTo>
                <a:lnTo>
                  <a:pt x="1661" y="757"/>
                </a:lnTo>
                <a:lnTo>
                  <a:pt x="2099" y="0"/>
                </a:lnTo>
                <a:lnTo>
                  <a:pt x="169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2" name="Titlu 1">
            <a:extLst>
              <a:ext uri="{FF2B5EF4-FFF2-40B4-BE49-F238E27FC236}">
                <a16:creationId xmlns:a16="http://schemas.microsoft.com/office/drawing/2014/main" id="{C377D14F-6230-4E0A-A1F0-1AFD2D9235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5504" y="2197257"/>
            <a:ext cx="4328932" cy="1255728"/>
          </a:xfrm>
        </p:spPr>
        <p:txBody>
          <a:bodyPr vert="horz">
            <a:spAutoFit/>
          </a:bodyPr>
          <a:lstStyle/>
          <a:p>
            <a:r>
              <a:rPr lang="ro-RO" sz="2000" dirty="0">
                <a:latin typeface="+mj-lt"/>
              </a:rPr>
              <a:t>Sistem integrat de management pentru o societate informațională performantă (SIMSIP)</a:t>
            </a:r>
            <a:br>
              <a:rPr lang="ro-RO" sz="2000" dirty="0">
                <a:latin typeface="+mj-lt"/>
              </a:rPr>
            </a:br>
            <a:br>
              <a:rPr lang="ro-RO" sz="2000" dirty="0">
                <a:latin typeface="+mj-lt"/>
              </a:rPr>
            </a:br>
            <a:r>
              <a:rPr lang="ro-RO" sz="1600" dirty="0">
                <a:latin typeface="+mj-lt"/>
              </a:rPr>
              <a:t>Cod MySMIS 116172, SIPOCA 391 </a:t>
            </a:r>
            <a:endParaRPr lang="ro-RO" sz="2000" dirty="0">
              <a:latin typeface="+mj-lt"/>
            </a:endParaRPr>
          </a:p>
        </p:txBody>
      </p:sp>
      <p:sp>
        <p:nvSpPr>
          <p:cNvPr id="3" name="Subtitlu 2">
            <a:extLst>
              <a:ext uri="{FF2B5EF4-FFF2-40B4-BE49-F238E27FC236}">
                <a16:creationId xmlns:a16="http://schemas.microsoft.com/office/drawing/2014/main" id="{0E532B41-6A5B-430F-A5A2-44D80ECA4B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75504" y="3648052"/>
            <a:ext cx="4328932" cy="246221"/>
          </a:xfrm>
        </p:spPr>
        <p:txBody>
          <a:bodyPr>
            <a:spAutoFit/>
          </a:bodyPr>
          <a:lstStyle/>
          <a:p>
            <a:r>
              <a:rPr lang="ro-RO" sz="1600" b="1" dirty="0">
                <a:latin typeface="+mj-lt"/>
              </a:rPr>
              <a:t>Carmen Adamescu, Partener EY România</a:t>
            </a:r>
          </a:p>
        </p:txBody>
      </p:sp>
    </p:spTree>
    <p:extLst>
      <p:ext uri="{BB962C8B-B14F-4D97-AF65-F5344CB8AC3E}">
        <p14:creationId xmlns:p14="http://schemas.microsoft.com/office/powerpoint/2010/main" val="8535244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DBC599-5222-4E22-9DAA-BF75F546D0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DBC599-5222-4E22-9DAA-BF75F546D0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5">
            <a:extLst>
              <a:ext uri="{FF2B5EF4-FFF2-40B4-BE49-F238E27FC236}">
                <a16:creationId xmlns:a16="http://schemas.microsoft.com/office/drawing/2014/main" id="{F26929D4-154E-4F34-A931-AD35B88D92D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24" r="26453"/>
          <a:stretch/>
        </p:blipFill>
        <p:spPr>
          <a:xfrm flipH="1">
            <a:off x="3176" y="-1"/>
            <a:ext cx="2384459" cy="6858000"/>
          </a:xfrm>
          <a:prstGeom prst="rect">
            <a:avLst/>
          </a:prstGeom>
        </p:spPr>
      </p:pic>
      <p:sp>
        <p:nvSpPr>
          <p:cNvPr id="2" name="Titlu 1">
            <a:extLst>
              <a:ext uri="{FF2B5EF4-FFF2-40B4-BE49-F238E27FC236}">
                <a16:creationId xmlns:a16="http://schemas.microsoft.com/office/drawing/2014/main" id="{0A3E0A2C-3081-4559-99A2-125333E9B4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 vert="horz"/>
          <a:lstStyle/>
          <a:p>
            <a:r>
              <a:rPr lang="ro-RO" dirty="0">
                <a:latin typeface="+mj-lt"/>
              </a:rPr>
              <a:t>Serviciile de consultanță livrate de către EY în cadrul SIMSIP</a:t>
            </a:r>
            <a:endParaRPr lang="en-US" dirty="0"/>
          </a:p>
        </p:txBody>
      </p:sp>
      <p:sp>
        <p:nvSpPr>
          <p:cNvPr id="5" name="Substituent număr diapozitiv 4">
            <a:extLst>
              <a:ext uri="{FF2B5EF4-FFF2-40B4-BE49-F238E27FC236}">
                <a16:creationId xmlns:a16="http://schemas.microsoft.com/office/drawing/2014/main" id="{7920C105-58A5-45EE-9D40-ED01203078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 dirty="0"/>
              <a:t>Pag</a:t>
            </a:r>
            <a:r>
              <a:rPr lang="ro-RO" dirty="0"/>
              <a:t>ina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2</a:t>
            </a:fld>
            <a:endParaRPr dirty="0"/>
          </a:p>
        </p:txBody>
      </p:sp>
      <p:sp>
        <p:nvSpPr>
          <p:cNvPr id="9" name="CasetăText 8">
            <a:extLst>
              <a:ext uri="{FF2B5EF4-FFF2-40B4-BE49-F238E27FC236}">
                <a16:creationId xmlns:a16="http://schemas.microsoft.com/office/drawing/2014/main" id="{BEBA9945-03E3-4F9E-B357-F4C5006E194C}"/>
              </a:ext>
            </a:extLst>
          </p:cNvPr>
          <p:cNvSpPr txBox="1"/>
          <p:nvPr/>
        </p:nvSpPr>
        <p:spPr>
          <a:xfrm>
            <a:off x="2695293" y="1312760"/>
            <a:ext cx="6172483" cy="498598"/>
          </a:xfrm>
          <a:prstGeom prst="rect">
            <a:avLst/>
          </a:prstGeom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t" anchorCtr="0">
            <a:spAutoFit/>
          </a:bodyPr>
          <a:lstStyle/>
          <a:p>
            <a:pPr marL="0" lvl="0" indent="0" algn="l" defTabSz="533400">
              <a:lnSpc>
                <a:spcPct val="90000"/>
              </a:lnSpc>
              <a:spcBef>
                <a:spcPts val="600"/>
              </a:spcBef>
              <a:buClr>
                <a:srgbClr val="FFE600"/>
              </a:buClr>
              <a:buFontTx/>
              <a:buNone/>
            </a:pPr>
            <a:r>
              <a:rPr lang="ro-RO" sz="3600" b="1" spc="100" dirty="0">
                <a:solidFill>
                  <a:srgbClr val="FFE600"/>
                </a:solidFill>
              </a:rPr>
              <a:t>Obiective</a:t>
            </a:r>
          </a:p>
        </p:txBody>
      </p:sp>
      <p:sp>
        <p:nvSpPr>
          <p:cNvPr id="10" name="CasetăText 8">
            <a:extLst>
              <a:ext uri="{FF2B5EF4-FFF2-40B4-BE49-F238E27FC236}">
                <a16:creationId xmlns:a16="http://schemas.microsoft.com/office/drawing/2014/main" id="{EB08191F-77E2-4934-8D74-29CB6E35E66D}"/>
              </a:ext>
            </a:extLst>
          </p:cNvPr>
          <p:cNvSpPr txBox="1"/>
          <p:nvPr/>
        </p:nvSpPr>
        <p:spPr>
          <a:xfrm>
            <a:off x="2695294" y="2129714"/>
            <a:ext cx="7315200" cy="2206758"/>
          </a:xfrm>
          <a:prstGeom prst="rect">
            <a:avLst/>
          </a:prstGeom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t" anchorCtr="0">
            <a:spAutoFit/>
          </a:bodyPr>
          <a:lstStyle/>
          <a:p>
            <a:pPr marL="285750" lvl="0" indent="-285750" algn="l" defTabSz="533400">
              <a:lnSpc>
                <a:spcPct val="90000"/>
              </a:lnSpc>
              <a:spcBef>
                <a:spcPts val="1800"/>
              </a:spcBef>
              <a:buClr>
                <a:srgbClr val="FFE600"/>
              </a:buClr>
              <a:buFont typeface="Wingdings" panose="05000000000000000000" pitchFamily="2" charset="2"/>
              <a:buChar char="ü"/>
            </a:pPr>
            <a:r>
              <a:rPr lang="ro-RO" dirty="0">
                <a:solidFill>
                  <a:schemeClr val="bg1"/>
                </a:solidFill>
              </a:rPr>
              <a:t>Implementarea instrumentului de management al calității CAF (Common </a:t>
            </a:r>
            <a:r>
              <a:rPr lang="ro-RO" dirty="0" err="1">
                <a:solidFill>
                  <a:schemeClr val="bg1"/>
                </a:solidFill>
              </a:rPr>
              <a:t>assessment</a:t>
            </a:r>
            <a:r>
              <a:rPr lang="ro-RO" dirty="0">
                <a:solidFill>
                  <a:schemeClr val="bg1"/>
                </a:solidFill>
              </a:rPr>
              <a:t> </a:t>
            </a:r>
            <a:r>
              <a:rPr lang="ro-RO" dirty="0" err="1">
                <a:solidFill>
                  <a:schemeClr val="bg1"/>
                </a:solidFill>
              </a:rPr>
              <a:t>framework</a:t>
            </a:r>
            <a:r>
              <a:rPr lang="ro-RO" dirty="0">
                <a:solidFill>
                  <a:schemeClr val="bg1"/>
                </a:solidFill>
              </a:rPr>
              <a:t>) la nivelul ADR și DNSC</a:t>
            </a:r>
          </a:p>
          <a:p>
            <a:pPr marL="285750" lvl="0" indent="-285750" algn="l" defTabSz="533400">
              <a:lnSpc>
                <a:spcPct val="90000"/>
              </a:lnSpc>
              <a:spcBef>
                <a:spcPts val="1800"/>
              </a:spcBef>
              <a:buClr>
                <a:srgbClr val="FFE600"/>
              </a:buClr>
              <a:buFont typeface="Wingdings" panose="05000000000000000000" pitchFamily="2" charset="2"/>
              <a:buChar char="ü"/>
            </a:pPr>
            <a:r>
              <a:rPr lang="ro-RO" dirty="0">
                <a:solidFill>
                  <a:schemeClr val="bg1"/>
                </a:solidFill>
              </a:rPr>
              <a:t>Implementarea instrumentului de management al performanței BSC (</a:t>
            </a:r>
            <a:r>
              <a:rPr lang="ro-RO" dirty="0" err="1">
                <a:solidFill>
                  <a:schemeClr val="bg1"/>
                </a:solidFill>
              </a:rPr>
              <a:t>Balanced</a:t>
            </a:r>
            <a:r>
              <a:rPr lang="ro-RO" dirty="0">
                <a:solidFill>
                  <a:schemeClr val="bg1"/>
                </a:solidFill>
              </a:rPr>
              <a:t> </a:t>
            </a:r>
            <a:r>
              <a:rPr lang="ro-RO" dirty="0" err="1">
                <a:solidFill>
                  <a:schemeClr val="bg1"/>
                </a:solidFill>
              </a:rPr>
              <a:t>Score</a:t>
            </a:r>
            <a:r>
              <a:rPr lang="ro-RO" dirty="0">
                <a:solidFill>
                  <a:schemeClr val="bg1"/>
                </a:solidFill>
              </a:rPr>
              <a:t> Card) la nivelul ADR și DNSC</a:t>
            </a:r>
          </a:p>
          <a:p>
            <a:pPr marL="285750" lvl="0" indent="-285750" algn="l" defTabSz="533400">
              <a:lnSpc>
                <a:spcPct val="90000"/>
              </a:lnSpc>
              <a:spcBef>
                <a:spcPts val="1800"/>
              </a:spcBef>
              <a:buClr>
                <a:srgbClr val="FFE600"/>
              </a:buClr>
              <a:buFont typeface="Wingdings" panose="05000000000000000000" pitchFamily="2" charset="2"/>
              <a:buChar char="ü"/>
            </a:pPr>
            <a:r>
              <a:rPr lang="ro-RO" dirty="0">
                <a:solidFill>
                  <a:schemeClr val="bg1"/>
                </a:solidFill>
              </a:rPr>
              <a:t>Transpunerea într-o aplicație informatică a unui sistem integrat de monitorizare a nivelului de digitalizare a celor 36 evenimente de viață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ro-RO" dirty="0">
                <a:solidFill>
                  <a:schemeClr val="bg1"/>
                </a:solidFill>
              </a:rPr>
              <a:t>identificate în Politica Publică de e-Guvernare</a:t>
            </a:r>
            <a:r>
              <a:rPr lang="en-US" dirty="0">
                <a:solidFill>
                  <a:schemeClr val="bg1"/>
                </a:solidFill>
              </a:rPr>
              <a:t> 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AA4FCBD-56C5-4DBF-93C4-62653B1C4495}"/>
              </a:ext>
            </a:extLst>
          </p:cNvPr>
          <p:cNvGrpSpPr/>
          <p:nvPr/>
        </p:nvGrpSpPr>
        <p:grpSpPr>
          <a:xfrm>
            <a:off x="10406194" y="1198461"/>
            <a:ext cx="1181100" cy="1181100"/>
            <a:chOff x="982663" y="2992438"/>
            <a:chExt cx="1184275" cy="1184275"/>
          </a:xfrm>
        </p:grpSpPr>
        <p:sp>
          <p:nvSpPr>
            <p:cNvPr id="14" name="Freeform 29">
              <a:extLst>
                <a:ext uri="{FF2B5EF4-FFF2-40B4-BE49-F238E27FC236}">
                  <a16:creationId xmlns:a16="http://schemas.microsoft.com/office/drawing/2014/main" id="{6D47CB3D-C939-4E07-87B7-91132A7261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39913" y="2992438"/>
              <a:ext cx="327025" cy="327025"/>
            </a:xfrm>
            <a:custGeom>
              <a:avLst/>
              <a:gdLst>
                <a:gd name="T0" fmla="*/ 92 w 206"/>
                <a:gd name="T1" fmla="*/ 206 h 206"/>
                <a:gd name="T2" fmla="*/ 6 w 206"/>
                <a:gd name="T3" fmla="*/ 200 h 206"/>
                <a:gd name="T4" fmla="*/ 0 w 206"/>
                <a:gd name="T5" fmla="*/ 114 h 206"/>
                <a:gd name="T6" fmla="*/ 114 w 206"/>
                <a:gd name="T7" fmla="*/ 0 h 206"/>
                <a:gd name="T8" fmla="*/ 110 w 206"/>
                <a:gd name="T9" fmla="*/ 96 h 206"/>
                <a:gd name="T10" fmla="*/ 206 w 206"/>
                <a:gd name="T11" fmla="*/ 92 h 206"/>
                <a:gd name="T12" fmla="*/ 92 w 206"/>
                <a:gd name="T13" fmla="*/ 206 h 206"/>
                <a:gd name="T14" fmla="*/ 22 w 206"/>
                <a:gd name="T15" fmla="*/ 184 h 206"/>
                <a:gd name="T16" fmla="*/ 84 w 206"/>
                <a:gd name="T17" fmla="*/ 188 h 206"/>
                <a:gd name="T18" fmla="*/ 160 w 206"/>
                <a:gd name="T19" fmla="*/ 112 h 206"/>
                <a:gd name="T20" fmla="*/ 90 w 206"/>
                <a:gd name="T21" fmla="*/ 116 h 206"/>
                <a:gd name="T22" fmla="*/ 94 w 206"/>
                <a:gd name="T23" fmla="*/ 46 h 206"/>
                <a:gd name="T24" fmla="*/ 18 w 206"/>
                <a:gd name="T25" fmla="*/ 122 h 206"/>
                <a:gd name="T26" fmla="*/ 22 w 206"/>
                <a:gd name="T27" fmla="*/ 184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6" h="206">
                  <a:moveTo>
                    <a:pt x="92" y="206"/>
                  </a:moveTo>
                  <a:lnTo>
                    <a:pt x="6" y="200"/>
                  </a:lnTo>
                  <a:lnTo>
                    <a:pt x="0" y="114"/>
                  </a:lnTo>
                  <a:lnTo>
                    <a:pt x="114" y="0"/>
                  </a:lnTo>
                  <a:lnTo>
                    <a:pt x="110" y="96"/>
                  </a:lnTo>
                  <a:lnTo>
                    <a:pt x="206" y="92"/>
                  </a:lnTo>
                  <a:lnTo>
                    <a:pt x="92" y="206"/>
                  </a:lnTo>
                  <a:close/>
                  <a:moveTo>
                    <a:pt x="22" y="184"/>
                  </a:moveTo>
                  <a:lnTo>
                    <a:pt x="84" y="188"/>
                  </a:lnTo>
                  <a:lnTo>
                    <a:pt x="160" y="112"/>
                  </a:lnTo>
                  <a:lnTo>
                    <a:pt x="90" y="116"/>
                  </a:lnTo>
                  <a:lnTo>
                    <a:pt x="94" y="46"/>
                  </a:lnTo>
                  <a:lnTo>
                    <a:pt x="18" y="122"/>
                  </a:lnTo>
                  <a:lnTo>
                    <a:pt x="22" y="18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6" name="Freeform 30">
              <a:extLst>
                <a:ext uri="{FF2B5EF4-FFF2-40B4-BE49-F238E27FC236}">
                  <a16:creationId xmlns:a16="http://schemas.microsoft.com/office/drawing/2014/main" id="{C44907D6-6306-4EBE-AB8E-8702301D89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1938" y="3100388"/>
              <a:ext cx="527050" cy="527050"/>
            </a:xfrm>
            <a:custGeom>
              <a:avLst/>
              <a:gdLst>
                <a:gd name="T0" fmla="*/ 12 w 332"/>
                <a:gd name="T1" fmla="*/ 332 h 332"/>
                <a:gd name="T2" fmla="*/ 0 w 332"/>
                <a:gd name="T3" fmla="*/ 320 h 332"/>
                <a:gd name="T4" fmla="*/ 320 w 332"/>
                <a:gd name="T5" fmla="*/ 0 h 332"/>
                <a:gd name="T6" fmla="*/ 332 w 332"/>
                <a:gd name="T7" fmla="*/ 12 h 332"/>
                <a:gd name="T8" fmla="*/ 12 w 332"/>
                <a:gd name="T9" fmla="*/ 332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2" h="332">
                  <a:moveTo>
                    <a:pt x="12" y="332"/>
                  </a:moveTo>
                  <a:lnTo>
                    <a:pt x="0" y="320"/>
                  </a:lnTo>
                  <a:lnTo>
                    <a:pt x="320" y="0"/>
                  </a:lnTo>
                  <a:lnTo>
                    <a:pt x="332" y="12"/>
                  </a:lnTo>
                  <a:lnTo>
                    <a:pt x="12" y="33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7" name="Freeform 31">
              <a:extLst>
                <a:ext uri="{FF2B5EF4-FFF2-40B4-BE49-F238E27FC236}">
                  <a16:creationId xmlns:a16="http://schemas.microsoft.com/office/drawing/2014/main" id="{6B00BD6B-5435-4D15-A30E-3DF3C46612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74788" y="3586163"/>
              <a:ext cx="98425" cy="98425"/>
            </a:xfrm>
            <a:custGeom>
              <a:avLst/>
              <a:gdLst>
                <a:gd name="T0" fmla="*/ 30 w 62"/>
                <a:gd name="T1" fmla="*/ 62 h 62"/>
                <a:gd name="T2" fmla="*/ 30 w 62"/>
                <a:gd name="T3" fmla="*/ 62 h 62"/>
                <a:gd name="T4" fmla="*/ 24 w 62"/>
                <a:gd name="T5" fmla="*/ 62 h 62"/>
                <a:gd name="T6" fmla="*/ 18 w 62"/>
                <a:gd name="T7" fmla="*/ 60 h 62"/>
                <a:gd name="T8" fmla="*/ 14 w 62"/>
                <a:gd name="T9" fmla="*/ 58 h 62"/>
                <a:gd name="T10" fmla="*/ 8 w 62"/>
                <a:gd name="T11" fmla="*/ 54 h 62"/>
                <a:gd name="T12" fmla="*/ 8 w 62"/>
                <a:gd name="T13" fmla="*/ 54 h 62"/>
                <a:gd name="T14" fmla="*/ 4 w 62"/>
                <a:gd name="T15" fmla="*/ 48 h 62"/>
                <a:gd name="T16" fmla="*/ 2 w 62"/>
                <a:gd name="T17" fmla="*/ 44 h 62"/>
                <a:gd name="T18" fmla="*/ 0 w 62"/>
                <a:gd name="T19" fmla="*/ 38 h 62"/>
                <a:gd name="T20" fmla="*/ 0 w 62"/>
                <a:gd name="T21" fmla="*/ 32 h 62"/>
                <a:gd name="T22" fmla="*/ 0 w 62"/>
                <a:gd name="T23" fmla="*/ 32 h 62"/>
                <a:gd name="T24" fmla="*/ 0 w 62"/>
                <a:gd name="T25" fmla="*/ 24 h 62"/>
                <a:gd name="T26" fmla="*/ 2 w 62"/>
                <a:gd name="T27" fmla="*/ 20 h 62"/>
                <a:gd name="T28" fmla="*/ 4 w 62"/>
                <a:gd name="T29" fmla="*/ 14 h 62"/>
                <a:gd name="T30" fmla="*/ 8 w 62"/>
                <a:gd name="T31" fmla="*/ 8 h 62"/>
                <a:gd name="T32" fmla="*/ 8 w 62"/>
                <a:gd name="T33" fmla="*/ 8 h 62"/>
                <a:gd name="T34" fmla="*/ 14 w 62"/>
                <a:gd name="T35" fmla="*/ 4 h 62"/>
                <a:gd name="T36" fmla="*/ 18 w 62"/>
                <a:gd name="T37" fmla="*/ 2 h 62"/>
                <a:gd name="T38" fmla="*/ 30 w 62"/>
                <a:gd name="T39" fmla="*/ 0 h 62"/>
                <a:gd name="T40" fmla="*/ 42 w 62"/>
                <a:gd name="T41" fmla="*/ 2 h 62"/>
                <a:gd name="T42" fmla="*/ 48 w 62"/>
                <a:gd name="T43" fmla="*/ 4 h 62"/>
                <a:gd name="T44" fmla="*/ 54 w 62"/>
                <a:gd name="T45" fmla="*/ 8 h 62"/>
                <a:gd name="T46" fmla="*/ 54 w 62"/>
                <a:gd name="T47" fmla="*/ 8 h 62"/>
                <a:gd name="T48" fmla="*/ 58 w 62"/>
                <a:gd name="T49" fmla="*/ 14 h 62"/>
                <a:gd name="T50" fmla="*/ 60 w 62"/>
                <a:gd name="T51" fmla="*/ 20 h 62"/>
                <a:gd name="T52" fmla="*/ 62 w 62"/>
                <a:gd name="T53" fmla="*/ 24 h 62"/>
                <a:gd name="T54" fmla="*/ 62 w 62"/>
                <a:gd name="T55" fmla="*/ 32 h 62"/>
                <a:gd name="T56" fmla="*/ 62 w 62"/>
                <a:gd name="T57" fmla="*/ 32 h 62"/>
                <a:gd name="T58" fmla="*/ 62 w 62"/>
                <a:gd name="T59" fmla="*/ 38 h 62"/>
                <a:gd name="T60" fmla="*/ 60 w 62"/>
                <a:gd name="T61" fmla="*/ 44 h 62"/>
                <a:gd name="T62" fmla="*/ 58 w 62"/>
                <a:gd name="T63" fmla="*/ 48 h 62"/>
                <a:gd name="T64" fmla="*/ 54 w 62"/>
                <a:gd name="T65" fmla="*/ 54 h 62"/>
                <a:gd name="T66" fmla="*/ 54 w 62"/>
                <a:gd name="T67" fmla="*/ 54 h 62"/>
                <a:gd name="T68" fmla="*/ 48 w 62"/>
                <a:gd name="T69" fmla="*/ 58 h 62"/>
                <a:gd name="T70" fmla="*/ 44 w 62"/>
                <a:gd name="T71" fmla="*/ 60 h 62"/>
                <a:gd name="T72" fmla="*/ 38 w 62"/>
                <a:gd name="T73" fmla="*/ 62 h 62"/>
                <a:gd name="T74" fmla="*/ 30 w 62"/>
                <a:gd name="T75" fmla="*/ 62 h 62"/>
                <a:gd name="T76" fmla="*/ 30 w 62"/>
                <a:gd name="T77" fmla="*/ 62 h 62"/>
                <a:gd name="T78" fmla="*/ 30 w 62"/>
                <a:gd name="T79" fmla="*/ 18 h 62"/>
                <a:gd name="T80" fmla="*/ 30 w 62"/>
                <a:gd name="T81" fmla="*/ 18 h 62"/>
                <a:gd name="T82" fmla="*/ 26 w 62"/>
                <a:gd name="T83" fmla="*/ 18 h 62"/>
                <a:gd name="T84" fmla="*/ 22 w 62"/>
                <a:gd name="T85" fmla="*/ 22 h 62"/>
                <a:gd name="T86" fmla="*/ 22 w 62"/>
                <a:gd name="T87" fmla="*/ 22 h 62"/>
                <a:gd name="T88" fmla="*/ 18 w 62"/>
                <a:gd name="T89" fmla="*/ 26 h 62"/>
                <a:gd name="T90" fmla="*/ 18 w 62"/>
                <a:gd name="T91" fmla="*/ 32 h 62"/>
                <a:gd name="T92" fmla="*/ 18 w 62"/>
                <a:gd name="T93" fmla="*/ 36 h 62"/>
                <a:gd name="T94" fmla="*/ 22 w 62"/>
                <a:gd name="T95" fmla="*/ 40 h 62"/>
                <a:gd name="T96" fmla="*/ 22 w 62"/>
                <a:gd name="T97" fmla="*/ 40 h 62"/>
                <a:gd name="T98" fmla="*/ 26 w 62"/>
                <a:gd name="T99" fmla="*/ 44 h 62"/>
                <a:gd name="T100" fmla="*/ 30 w 62"/>
                <a:gd name="T101" fmla="*/ 44 h 62"/>
                <a:gd name="T102" fmla="*/ 36 w 62"/>
                <a:gd name="T103" fmla="*/ 44 h 62"/>
                <a:gd name="T104" fmla="*/ 40 w 62"/>
                <a:gd name="T105" fmla="*/ 40 h 62"/>
                <a:gd name="T106" fmla="*/ 40 w 62"/>
                <a:gd name="T107" fmla="*/ 40 h 62"/>
                <a:gd name="T108" fmla="*/ 44 w 62"/>
                <a:gd name="T109" fmla="*/ 36 h 62"/>
                <a:gd name="T110" fmla="*/ 44 w 62"/>
                <a:gd name="T111" fmla="*/ 32 h 62"/>
                <a:gd name="T112" fmla="*/ 44 w 62"/>
                <a:gd name="T113" fmla="*/ 26 h 62"/>
                <a:gd name="T114" fmla="*/ 40 w 62"/>
                <a:gd name="T115" fmla="*/ 22 h 62"/>
                <a:gd name="T116" fmla="*/ 40 w 62"/>
                <a:gd name="T117" fmla="*/ 22 h 62"/>
                <a:gd name="T118" fmla="*/ 36 w 62"/>
                <a:gd name="T119" fmla="*/ 18 h 62"/>
                <a:gd name="T120" fmla="*/ 30 w 62"/>
                <a:gd name="T121" fmla="*/ 18 h 62"/>
                <a:gd name="T122" fmla="*/ 30 w 62"/>
                <a:gd name="T123" fmla="*/ 1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2" h="62">
                  <a:moveTo>
                    <a:pt x="30" y="62"/>
                  </a:moveTo>
                  <a:lnTo>
                    <a:pt x="30" y="62"/>
                  </a:lnTo>
                  <a:lnTo>
                    <a:pt x="24" y="62"/>
                  </a:lnTo>
                  <a:lnTo>
                    <a:pt x="18" y="60"/>
                  </a:lnTo>
                  <a:lnTo>
                    <a:pt x="14" y="58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4" y="48"/>
                  </a:lnTo>
                  <a:lnTo>
                    <a:pt x="2" y="44"/>
                  </a:lnTo>
                  <a:lnTo>
                    <a:pt x="0" y="3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4"/>
                  </a:lnTo>
                  <a:lnTo>
                    <a:pt x="2" y="20"/>
                  </a:lnTo>
                  <a:lnTo>
                    <a:pt x="4" y="14"/>
                  </a:lnTo>
                  <a:lnTo>
                    <a:pt x="8" y="8"/>
                  </a:lnTo>
                  <a:lnTo>
                    <a:pt x="8" y="8"/>
                  </a:lnTo>
                  <a:lnTo>
                    <a:pt x="14" y="4"/>
                  </a:lnTo>
                  <a:lnTo>
                    <a:pt x="18" y="2"/>
                  </a:lnTo>
                  <a:lnTo>
                    <a:pt x="30" y="0"/>
                  </a:lnTo>
                  <a:lnTo>
                    <a:pt x="42" y="2"/>
                  </a:lnTo>
                  <a:lnTo>
                    <a:pt x="48" y="4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8" y="14"/>
                  </a:lnTo>
                  <a:lnTo>
                    <a:pt x="60" y="20"/>
                  </a:lnTo>
                  <a:lnTo>
                    <a:pt x="62" y="24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8"/>
                  </a:lnTo>
                  <a:lnTo>
                    <a:pt x="60" y="44"/>
                  </a:lnTo>
                  <a:lnTo>
                    <a:pt x="58" y="48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48" y="58"/>
                  </a:lnTo>
                  <a:lnTo>
                    <a:pt x="44" y="60"/>
                  </a:lnTo>
                  <a:lnTo>
                    <a:pt x="38" y="62"/>
                  </a:lnTo>
                  <a:lnTo>
                    <a:pt x="30" y="62"/>
                  </a:lnTo>
                  <a:lnTo>
                    <a:pt x="30" y="62"/>
                  </a:lnTo>
                  <a:close/>
                  <a:moveTo>
                    <a:pt x="30" y="18"/>
                  </a:moveTo>
                  <a:lnTo>
                    <a:pt x="30" y="18"/>
                  </a:lnTo>
                  <a:lnTo>
                    <a:pt x="26" y="18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18" y="26"/>
                  </a:lnTo>
                  <a:lnTo>
                    <a:pt x="18" y="32"/>
                  </a:lnTo>
                  <a:lnTo>
                    <a:pt x="18" y="36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6" y="44"/>
                  </a:lnTo>
                  <a:lnTo>
                    <a:pt x="30" y="44"/>
                  </a:lnTo>
                  <a:lnTo>
                    <a:pt x="36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26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36" y="18"/>
                  </a:lnTo>
                  <a:lnTo>
                    <a:pt x="30" y="18"/>
                  </a:lnTo>
                  <a:lnTo>
                    <a:pt x="30" y="1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8" name="Freeform 32">
              <a:extLst>
                <a:ext uri="{FF2B5EF4-FFF2-40B4-BE49-F238E27FC236}">
                  <a16:creationId xmlns:a16="http://schemas.microsoft.com/office/drawing/2014/main" id="{655B6FFA-B0A2-48BB-B5C4-70D07A745A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9763" y="3144838"/>
              <a:ext cx="44450" cy="47625"/>
            </a:xfrm>
            <a:custGeom>
              <a:avLst/>
              <a:gdLst>
                <a:gd name="T0" fmla="*/ 12 w 28"/>
                <a:gd name="T1" fmla="*/ 30 h 30"/>
                <a:gd name="T2" fmla="*/ 0 w 28"/>
                <a:gd name="T3" fmla="*/ 16 h 30"/>
                <a:gd name="T4" fmla="*/ 16 w 28"/>
                <a:gd name="T5" fmla="*/ 0 h 30"/>
                <a:gd name="T6" fmla="*/ 28 w 28"/>
                <a:gd name="T7" fmla="*/ 14 h 30"/>
                <a:gd name="T8" fmla="*/ 12 w 28"/>
                <a:gd name="T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30">
                  <a:moveTo>
                    <a:pt x="12" y="30"/>
                  </a:moveTo>
                  <a:lnTo>
                    <a:pt x="0" y="16"/>
                  </a:lnTo>
                  <a:lnTo>
                    <a:pt x="16" y="0"/>
                  </a:lnTo>
                  <a:lnTo>
                    <a:pt x="28" y="14"/>
                  </a:lnTo>
                  <a:lnTo>
                    <a:pt x="12" y="3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19" name="Freeform 33">
              <a:extLst>
                <a:ext uri="{FF2B5EF4-FFF2-40B4-BE49-F238E27FC236}">
                  <a16:creationId xmlns:a16="http://schemas.microsoft.com/office/drawing/2014/main" id="{7A4A328C-2D2A-4098-B559-D63A43C314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0088" y="3208338"/>
              <a:ext cx="47625" cy="44450"/>
            </a:xfrm>
            <a:custGeom>
              <a:avLst/>
              <a:gdLst>
                <a:gd name="T0" fmla="*/ 14 w 30"/>
                <a:gd name="T1" fmla="*/ 28 h 28"/>
                <a:gd name="T2" fmla="*/ 0 w 30"/>
                <a:gd name="T3" fmla="*/ 16 h 28"/>
                <a:gd name="T4" fmla="*/ 16 w 30"/>
                <a:gd name="T5" fmla="*/ 0 h 28"/>
                <a:gd name="T6" fmla="*/ 30 w 30"/>
                <a:gd name="T7" fmla="*/ 12 h 28"/>
                <a:gd name="T8" fmla="*/ 14 w 30"/>
                <a:gd name="T9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28">
                  <a:moveTo>
                    <a:pt x="14" y="28"/>
                  </a:moveTo>
                  <a:lnTo>
                    <a:pt x="0" y="16"/>
                  </a:lnTo>
                  <a:lnTo>
                    <a:pt x="16" y="0"/>
                  </a:lnTo>
                  <a:lnTo>
                    <a:pt x="30" y="12"/>
                  </a:lnTo>
                  <a:lnTo>
                    <a:pt x="14" y="2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0" name="Freeform 34">
              <a:extLst>
                <a:ext uri="{FF2B5EF4-FFF2-40B4-BE49-F238E27FC236}">
                  <a16:creationId xmlns:a16="http://schemas.microsoft.com/office/drawing/2014/main" id="{9DEB82D3-E1E0-42E5-AE8C-D543ED4C4AA6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663" y="3094038"/>
              <a:ext cx="1082675" cy="1082675"/>
            </a:xfrm>
            <a:custGeom>
              <a:avLst/>
              <a:gdLst>
                <a:gd name="T0" fmla="*/ 308 w 682"/>
                <a:gd name="T1" fmla="*/ 680 h 682"/>
                <a:gd name="T2" fmla="*/ 210 w 682"/>
                <a:gd name="T3" fmla="*/ 656 h 682"/>
                <a:gd name="T4" fmla="*/ 124 w 682"/>
                <a:gd name="T5" fmla="*/ 606 h 682"/>
                <a:gd name="T6" fmla="*/ 76 w 682"/>
                <a:gd name="T7" fmla="*/ 558 h 682"/>
                <a:gd name="T8" fmla="*/ 26 w 682"/>
                <a:gd name="T9" fmla="*/ 472 h 682"/>
                <a:gd name="T10" fmla="*/ 2 w 682"/>
                <a:gd name="T11" fmla="*/ 376 h 682"/>
                <a:gd name="T12" fmla="*/ 2 w 682"/>
                <a:gd name="T13" fmla="*/ 308 h 682"/>
                <a:gd name="T14" fmla="*/ 26 w 682"/>
                <a:gd name="T15" fmla="*/ 210 h 682"/>
                <a:gd name="T16" fmla="*/ 76 w 682"/>
                <a:gd name="T17" fmla="*/ 126 h 682"/>
                <a:gd name="T18" fmla="*/ 122 w 682"/>
                <a:gd name="T19" fmla="*/ 80 h 682"/>
                <a:gd name="T20" fmla="*/ 196 w 682"/>
                <a:gd name="T21" fmla="*/ 32 h 682"/>
                <a:gd name="T22" fmla="*/ 278 w 682"/>
                <a:gd name="T23" fmla="*/ 6 h 682"/>
                <a:gd name="T24" fmla="*/ 364 w 682"/>
                <a:gd name="T25" fmla="*/ 0 h 682"/>
                <a:gd name="T26" fmla="*/ 448 w 682"/>
                <a:gd name="T27" fmla="*/ 18 h 682"/>
                <a:gd name="T28" fmla="*/ 528 w 682"/>
                <a:gd name="T29" fmla="*/ 56 h 682"/>
                <a:gd name="T30" fmla="*/ 518 w 682"/>
                <a:gd name="T31" fmla="*/ 70 h 682"/>
                <a:gd name="T32" fmla="*/ 468 w 682"/>
                <a:gd name="T33" fmla="*/ 44 h 682"/>
                <a:gd name="T34" fmla="*/ 390 w 682"/>
                <a:gd name="T35" fmla="*/ 22 h 682"/>
                <a:gd name="T36" fmla="*/ 308 w 682"/>
                <a:gd name="T37" fmla="*/ 20 h 682"/>
                <a:gd name="T38" fmla="*/ 228 w 682"/>
                <a:gd name="T39" fmla="*/ 38 h 682"/>
                <a:gd name="T40" fmla="*/ 156 w 682"/>
                <a:gd name="T41" fmla="*/ 76 h 682"/>
                <a:gd name="T42" fmla="*/ 112 w 682"/>
                <a:gd name="T43" fmla="*/ 112 h 682"/>
                <a:gd name="T44" fmla="*/ 56 w 682"/>
                <a:gd name="T45" fmla="*/ 190 h 682"/>
                <a:gd name="T46" fmla="*/ 24 w 682"/>
                <a:gd name="T47" fmla="*/ 278 h 682"/>
                <a:gd name="T48" fmla="*/ 18 w 682"/>
                <a:gd name="T49" fmla="*/ 342 h 682"/>
                <a:gd name="T50" fmla="*/ 32 w 682"/>
                <a:gd name="T51" fmla="*/ 436 h 682"/>
                <a:gd name="T52" fmla="*/ 72 w 682"/>
                <a:gd name="T53" fmla="*/ 520 h 682"/>
                <a:gd name="T54" fmla="*/ 112 w 682"/>
                <a:gd name="T55" fmla="*/ 570 h 682"/>
                <a:gd name="T56" fmla="*/ 188 w 682"/>
                <a:gd name="T57" fmla="*/ 626 h 682"/>
                <a:gd name="T58" fmla="*/ 278 w 682"/>
                <a:gd name="T59" fmla="*/ 658 h 682"/>
                <a:gd name="T60" fmla="*/ 340 w 682"/>
                <a:gd name="T61" fmla="*/ 664 h 682"/>
                <a:gd name="T62" fmla="*/ 436 w 682"/>
                <a:gd name="T63" fmla="*/ 650 h 682"/>
                <a:gd name="T64" fmla="*/ 520 w 682"/>
                <a:gd name="T65" fmla="*/ 610 h 682"/>
                <a:gd name="T66" fmla="*/ 570 w 682"/>
                <a:gd name="T67" fmla="*/ 570 h 682"/>
                <a:gd name="T68" fmla="*/ 622 w 682"/>
                <a:gd name="T69" fmla="*/ 502 h 682"/>
                <a:gd name="T70" fmla="*/ 654 w 682"/>
                <a:gd name="T71" fmla="*/ 424 h 682"/>
                <a:gd name="T72" fmla="*/ 664 w 682"/>
                <a:gd name="T73" fmla="*/ 344 h 682"/>
                <a:gd name="T74" fmla="*/ 654 w 682"/>
                <a:gd name="T75" fmla="*/ 262 h 682"/>
                <a:gd name="T76" fmla="*/ 622 w 682"/>
                <a:gd name="T77" fmla="*/ 182 h 682"/>
                <a:gd name="T78" fmla="*/ 616 w 682"/>
                <a:gd name="T79" fmla="*/ 140 h 682"/>
                <a:gd name="T80" fmla="*/ 638 w 682"/>
                <a:gd name="T81" fmla="*/ 174 h 682"/>
                <a:gd name="T82" fmla="*/ 672 w 682"/>
                <a:gd name="T83" fmla="*/ 256 h 682"/>
                <a:gd name="T84" fmla="*/ 682 w 682"/>
                <a:gd name="T85" fmla="*/ 344 h 682"/>
                <a:gd name="T86" fmla="*/ 670 w 682"/>
                <a:gd name="T87" fmla="*/ 430 h 682"/>
                <a:gd name="T88" fmla="*/ 638 w 682"/>
                <a:gd name="T89" fmla="*/ 510 h 682"/>
                <a:gd name="T90" fmla="*/ 582 w 682"/>
                <a:gd name="T91" fmla="*/ 582 h 682"/>
                <a:gd name="T92" fmla="*/ 530 w 682"/>
                <a:gd name="T93" fmla="*/ 626 h 682"/>
                <a:gd name="T94" fmla="*/ 440 w 682"/>
                <a:gd name="T95" fmla="*/ 668 h 682"/>
                <a:gd name="T96" fmla="*/ 340 w 682"/>
                <a:gd name="T97" fmla="*/ 682 h 6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82" h="682">
                  <a:moveTo>
                    <a:pt x="340" y="682"/>
                  </a:moveTo>
                  <a:lnTo>
                    <a:pt x="340" y="682"/>
                  </a:lnTo>
                  <a:lnTo>
                    <a:pt x="308" y="680"/>
                  </a:lnTo>
                  <a:lnTo>
                    <a:pt x="274" y="676"/>
                  </a:lnTo>
                  <a:lnTo>
                    <a:pt x="242" y="668"/>
                  </a:lnTo>
                  <a:lnTo>
                    <a:pt x="210" y="656"/>
                  </a:lnTo>
                  <a:lnTo>
                    <a:pt x="180" y="642"/>
                  </a:lnTo>
                  <a:lnTo>
                    <a:pt x="152" y="626"/>
                  </a:lnTo>
                  <a:lnTo>
                    <a:pt x="124" y="606"/>
                  </a:lnTo>
                  <a:lnTo>
                    <a:pt x="100" y="582"/>
                  </a:lnTo>
                  <a:lnTo>
                    <a:pt x="100" y="582"/>
                  </a:lnTo>
                  <a:lnTo>
                    <a:pt x="76" y="558"/>
                  </a:lnTo>
                  <a:lnTo>
                    <a:pt x="56" y="530"/>
                  </a:lnTo>
                  <a:lnTo>
                    <a:pt x="40" y="502"/>
                  </a:lnTo>
                  <a:lnTo>
                    <a:pt x="26" y="472"/>
                  </a:lnTo>
                  <a:lnTo>
                    <a:pt x="14" y="440"/>
                  </a:lnTo>
                  <a:lnTo>
                    <a:pt x="6" y="408"/>
                  </a:lnTo>
                  <a:lnTo>
                    <a:pt x="2" y="376"/>
                  </a:lnTo>
                  <a:lnTo>
                    <a:pt x="0" y="342"/>
                  </a:lnTo>
                  <a:lnTo>
                    <a:pt x="0" y="342"/>
                  </a:lnTo>
                  <a:lnTo>
                    <a:pt x="2" y="308"/>
                  </a:lnTo>
                  <a:lnTo>
                    <a:pt x="6" y="274"/>
                  </a:lnTo>
                  <a:lnTo>
                    <a:pt x="14" y="242"/>
                  </a:lnTo>
                  <a:lnTo>
                    <a:pt x="26" y="210"/>
                  </a:lnTo>
                  <a:lnTo>
                    <a:pt x="40" y="180"/>
                  </a:lnTo>
                  <a:lnTo>
                    <a:pt x="56" y="152"/>
                  </a:lnTo>
                  <a:lnTo>
                    <a:pt x="76" y="126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22" y="80"/>
                  </a:lnTo>
                  <a:lnTo>
                    <a:pt x="146" y="62"/>
                  </a:lnTo>
                  <a:lnTo>
                    <a:pt x="170" y="46"/>
                  </a:lnTo>
                  <a:lnTo>
                    <a:pt x="196" y="32"/>
                  </a:lnTo>
                  <a:lnTo>
                    <a:pt x="222" y="22"/>
                  </a:lnTo>
                  <a:lnTo>
                    <a:pt x="250" y="12"/>
                  </a:lnTo>
                  <a:lnTo>
                    <a:pt x="278" y="6"/>
                  </a:lnTo>
                  <a:lnTo>
                    <a:pt x="306" y="2"/>
                  </a:lnTo>
                  <a:lnTo>
                    <a:pt x="334" y="0"/>
                  </a:lnTo>
                  <a:lnTo>
                    <a:pt x="364" y="0"/>
                  </a:lnTo>
                  <a:lnTo>
                    <a:pt x="392" y="4"/>
                  </a:lnTo>
                  <a:lnTo>
                    <a:pt x="420" y="10"/>
                  </a:lnTo>
                  <a:lnTo>
                    <a:pt x="448" y="18"/>
                  </a:lnTo>
                  <a:lnTo>
                    <a:pt x="476" y="28"/>
                  </a:lnTo>
                  <a:lnTo>
                    <a:pt x="502" y="40"/>
                  </a:lnTo>
                  <a:lnTo>
                    <a:pt x="528" y="56"/>
                  </a:lnTo>
                  <a:lnTo>
                    <a:pt x="536" y="60"/>
                  </a:lnTo>
                  <a:lnTo>
                    <a:pt x="526" y="76"/>
                  </a:lnTo>
                  <a:lnTo>
                    <a:pt x="518" y="70"/>
                  </a:lnTo>
                  <a:lnTo>
                    <a:pt x="518" y="70"/>
                  </a:lnTo>
                  <a:lnTo>
                    <a:pt x="494" y="56"/>
                  </a:lnTo>
                  <a:lnTo>
                    <a:pt x="468" y="44"/>
                  </a:lnTo>
                  <a:lnTo>
                    <a:pt x="442" y="34"/>
                  </a:lnTo>
                  <a:lnTo>
                    <a:pt x="416" y="26"/>
                  </a:lnTo>
                  <a:lnTo>
                    <a:pt x="390" y="22"/>
                  </a:lnTo>
                  <a:lnTo>
                    <a:pt x="362" y="18"/>
                  </a:lnTo>
                  <a:lnTo>
                    <a:pt x="336" y="18"/>
                  </a:lnTo>
                  <a:lnTo>
                    <a:pt x="308" y="20"/>
                  </a:lnTo>
                  <a:lnTo>
                    <a:pt x="282" y="24"/>
                  </a:lnTo>
                  <a:lnTo>
                    <a:pt x="254" y="30"/>
                  </a:lnTo>
                  <a:lnTo>
                    <a:pt x="228" y="38"/>
                  </a:lnTo>
                  <a:lnTo>
                    <a:pt x="204" y="48"/>
                  </a:lnTo>
                  <a:lnTo>
                    <a:pt x="178" y="62"/>
                  </a:lnTo>
                  <a:lnTo>
                    <a:pt x="156" y="76"/>
                  </a:lnTo>
                  <a:lnTo>
                    <a:pt x="134" y="94"/>
                  </a:lnTo>
                  <a:lnTo>
                    <a:pt x="112" y="112"/>
                  </a:lnTo>
                  <a:lnTo>
                    <a:pt x="112" y="112"/>
                  </a:lnTo>
                  <a:lnTo>
                    <a:pt x="90" y="136"/>
                  </a:lnTo>
                  <a:lnTo>
                    <a:pt x="72" y="162"/>
                  </a:lnTo>
                  <a:lnTo>
                    <a:pt x="56" y="190"/>
                  </a:lnTo>
                  <a:lnTo>
                    <a:pt x="42" y="218"/>
                  </a:lnTo>
                  <a:lnTo>
                    <a:pt x="32" y="248"/>
                  </a:lnTo>
                  <a:lnTo>
                    <a:pt x="24" y="278"/>
                  </a:lnTo>
                  <a:lnTo>
                    <a:pt x="20" y="310"/>
                  </a:lnTo>
                  <a:lnTo>
                    <a:pt x="18" y="342"/>
                  </a:lnTo>
                  <a:lnTo>
                    <a:pt x="18" y="342"/>
                  </a:lnTo>
                  <a:lnTo>
                    <a:pt x="20" y="374"/>
                  </a:lnTo>
                  <a:lnTo>
                    <a:pt x="24" y="404"/>
                  </a:lnTo>
                  <a:lnTo>
                    <a:pt x="32" y="436"/>
                  </a:lnTo>
                  <a:lnTo>
                    <a:pt x="42" y="464"/>
                  </a:lnTo>
                  <a:lnTo>
                    <a:pt x="56" y="494"/>
                  </a:lnTo>
                  <a:lnTo>
                    <a:pt x="72" y="520"/>
                  </a:lnTo>
                  <a:lnTo>
                    <a:pt x="90" y="546"/>
                  </a:lnTo>
                  <a:lnTo>
                    <a:pt x="112" y="570"/>
                  </a:lnTo>
                  <a:lnTo>
                    <a:pt x="112" y="570"/>
                  </a:lnTo>
                  <a:lnTo>
                    <a:pt x="136" y="592"/>
                  </a:lnTo>
                  <a:lnTo>
                    <a:pt x="162" y="610"/>
                  </a:lnTo>
                  <a:lnTo>
                    <a:pt x="188" y="626"/>
                  </a:lnTo>
                  <a:lnTo>
                    <a:pt x="218" y="640"/>
                  </a:lnTo>
                  <a:lnTo>
                    <a:pt x="246" y="650"/>
                  </a:lnTo>
                  <a:lnTo>
                    <a:pt x="278" y="658"/>
                  </a:lnTo>
                  <a:lnTo>
                    <a:pt x="308" y="662"/>
                  </a:lnTo>
                  <a:lnTo>
                    <a:pt x="340" y="664"/>
                  </a:lnTo>
                  <a:lnTo>
                    <a:pt x="340" y="664"/>
                  </a:lnTo>
                  <a:lnTo>
                    <a:pt x="374" y="662"/>
                  </a:lnTo>
                  <a:lnTo>
                    <a:pt x="404" y="658"/>
                  </a:lnTo>
                  <a:lnTo>
                    <a:pt x="436" y="650"/>
                  </a:lnTo>
                  <a:lnTo>
                    <a:pt x="464" y="640"/>
                  </a:lnTo>
                  <a:lnTo>
                    <a:pt x="494" y="626"/>
                  </a:lnTo>
                  <a:lnTo>
                    <a:pt x="520" y="610"/>
                  </a:lnTo>
                  <a:lnTo>
                    <a:pt x="546" y="592"/>
                  </a:lnTo>
                  <a:lnTo>
                    <a:pt x="570" y="570"/>
                  </a:lnTo>
                  <a:lnTo>
                    <a:pt x="570" y="570"/>
                  </a:lnTo>
                  <a:lnTo>
                    <a:pt x="588" y="548"/>
                  </a:lnTo>
                  <a:lnTo>
                    <a:pt x="606" y="526"/>
                  </a:lnTo>
                  <a:lnTo>
                    <a:pt x="622" y="502"/>
                  </a:lnTo>
                  <a:lnTo>
                    <a:pt x="634" y="476"/>
                  </a:lnTo>
                  <a:lnTo>
                    <a:pt x="644" y="452"/>
                  </a:lnTo>
                  <a:lnTo>
                    <a:pt x="654" y="424"/>
                  </a:lnTo>
                  <a:lnTo>
                    <a:pt x="660" y="398"/>
                  </a:lnTo>
                  <a:lnTo>
                    <a:pt x="662" y="370"/>
                  </a:lnTo>
                  <a:lnTo>
                    <a:pt x="664" y="344"/>
                  </a:lnTo>
                  <a:lnTo>
                    <a:pt x="664" y="316"/>
                  </a:lnTo>
                  <a:lnTo>
                    <a:pt x="660" y="288"/>
                  </a:lnTo>
                  <a:lnTo>
                    <a:pt x="654" y="262"/>
                  </a:lnTo>
                  <a:lnTo>
                    <a:pt x="646" y="234"/>
                  </a:lnTo>
                  <a:lnTo>
                    <a:pt x="636" y="208"/>
                  </a:lnTo>
                  <a:lnTo>
                    <a:pt x="622" y="182"/>
                  </a:lnTo>
                  <a:lnTo>
                    <a:pt x="608" y="158"/>
                  </a:lnTo>
                  <a:lnTo>
                    <a:pt x="602" y="150"/>
                  </a:lnTo>
                  <a:lnTo>
                    <a:pt x="616" y="140"/>
                  </a:lnTo>
                  <a:lnTo>
                    <a:pt x="622" y="148"/>
                  </a:lnTo>
                  <a:lnTo>
                    <a:pt x="622" y="148"/>
                  </a:lnTo>
                  <a:lnTo>
                    <a:pt x="638" y="174"/>
                  </a:lnTo>
                  <a:lnTo>
                    <a:pt x="652" y="200"/>
                  </a:lnTo>
                  <a:lnTo>
                    <a:pt x="662" y="228"/>
                  </a:lnTo>
                  <a:lnTo>
                    <a:pt x="672" y="256"/>
                  </a:lnTo>
                  <a:lnTo>
                    <a:pt x="678" y="286"/>
                  </a:lnTo>
                  <a:lnTo>
                    <a:pt x="682" y="314"/>
                  </a:lnTo>
                  <a:lnTo>
                    <a:pt x="682" y="344"/>
                  </a:lnTo>
                  <a:lnTo>
                    <a:pt x="680" y="372"/>
                  </a:lnTo>
                  <a:lnTo>
                    <a:pt x="676" y="402"/>
                  </a:lnTo>
                  <a:lnTo>
                    <a:pt x="670" y="430"/>
                  </a:lnTo>
                  <a:lnTo>
                    <a:pt x="662" y="458"/>
                  </a:lnTo>
                  <a:lnTo>
                    <a:pt x="650" y="484"/>
                  </a:lnTo>
                  <a:lnTo>
                    <a:pt x="638" y="510"/>
                  </a:lnTo>
                  <a:lnTo>
                    <a:pt x="622" y="536"/>
                  </a:lnTo>
                  <a:lnTo>
                    <a:pt x="602" y="560"/>
                  </a:lnTo>
                  <a:lnTo>
                    <a:pt x="582" y="582"/>
                  </a:lnTo>
                  <a:lnTo>
                    <a:pt x="582" y="582"/>
                  </a:lnTo>
                  <a:lnTo>
                    <a:pt x="558" y="606"/>
                  </a:lnTo>
                  <a:lnTo>
                    <a:pt x="530" y="626"/>
                  </a:lnTo>
                  <a:lnTo>
                    <a:pt x="502" y="642"/>
                  </a:lnTo>
                  <a:lnTo>
                    <a:pt x="472" y="656"/>
                  </a:lnTo>
                  <a:lnTo>
                    <a:pt x="440" y="668"/>
                  </a:lnTo>
                  <a:lnTo>
                    <a:pt x="408" y="676"/>
                  </a:lnTo>
                  <a:lnTo>
                    <a:pt x="374" y="680"/>
                  </a:lnTo>
                  <a:lnTo>
                    <a:pt x="340" y="682"/>
                  </a:lnTo>
                  <a:lnTo>
                    <a:pt x="340" y="68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1" name="Freeform 35">
              <a:extLst>
                <a:ext uri="{FF2B5EF4-FFF2-40B4-BE49-F238E27FC236}">
                  <a16:creationId xmlns:a16="http://schemas.microsoft.com/office/drawing/2014/main" id="{4AF1DE51-431D-42BF-B451-2335511BE6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1563" y="3182938"/>
              <a:ext cx="904875" cy="904875"/>
            </a:xfrm>
            <a:custGeom>
              <a:avLst/>
              <a:gdLst>
                <a:gd name="T0" fmla="*/ 256 w 570"/>
                <a:gd name="T1" fmla="*/ 570 h 570"/>
                <a:gd name="T2" fmla="*/ 176 w 570"/>
                <a:gd name="T3" fmla="*/ 550 h 570"/>
                <a:gd name="T4" fmla="*/ 104 w 570"/>
                <a:gd name="T5" fmla="*/ 506 h 570"/>
                <a:gd name="T6" fmla="*/ 64 w 570"/>
                <a:gd name="T7" fmla="*/ 466 h 570"/>
                <a:gd name="T8" fmla="*/ 20 w 570"/>
                <a:gd name="T9" fmla="*/ 394 h 570"/>
                <a:gd name="T10" fmla="*/ 0 w 570"/>
                <a:gd name="T11" fmla="*/ 314 h 570"/>
                <a:gd name="T12" fmla="*/ 0 w 570"/>
                <a:gd name="T13" fmla="*/ 256 h 570"/>
                <a:gd name="T14" fmla="*/ 20 w 570"/>
                <a:gd name="T15" fmla="*/ 176 h 570"/>
                <a:gd name="T16" fmla="*/ 64 w 570"/>
                <a:gd name="T17" fmla="*/ 104 h 570"/>
                <a:gd name="T18" fmla="*/ 102 w 570"/>
                <a:gd name="T19" fmla="*/ 66 h 570"/>
                <a:gd name="T20" fmla="*/ 168 w 570"/>
                <a:gd name="T21" fmla="*/ 24 h 570"/>
                <a:gd name="T22" fmla="*/ 240 w 570"/>
                <a:gd name="T23" fmla="*/ 4 h 570"/>
                <a:gd name="T24" fmla="*/ 316 w 570"/>
                <a:gd name="T25" fmla="*/ 2 h 570"/>
                <a:gd name="T26" fmla="*/ 388 w 570"/>
                <a:gd name="T27" fmla="*/ 20 h 570"/>
                <a:gd name="T28" fmla="*/ 456 w 570"/>
                <a:gd name="T29" fmla="*/ 58 h 570"/>
                <a:gd name="T30" fmla="*/ 446 w 570"/>
                <a:gd name="T31" fmla="*/ 72 h 570"/>
                <a:gd name="T32" fmla="*/ 404 w 570"/>
                <a:gd name="T33" fmla="*/ 46 h 570"/>
                <a:gd name="T34" fmla="*/ 336 w 570"/>
                <a:gd name="T35" fmla="*/ 22 h 570"/>
                <a:gd name="T36" fmla="*/ 266 w 570"/>
                <a:gd name="T37" fmla="*/ 18 h 570"/>
                <a:gd name="T38" fmla="*/ 198 w 570"/>
                <a:gd name="T39" fmla="*/ 32 h 570"/>
                <a:gd name="T40" fmla="*/ 134 w 570"/>
                <a:gd name="T41" fmla="*/ 64 h 570"/>
                <a:gd name="T42" fmla="*/ 96 w 570"/>
                <a:gd name="T43" fmla="*/ 96 h 570"/>
                <a:gd name="T44" fmla="*/ 48 w 570"/>
                <a:gd name="T45" fmla="*/ 160 h 570"/>
                <a:gd name="T46" fmla="*/ 22 w 570"/>
                <a:gd name="T47" fmla="*/ 232 h 570"/>
                <a:gd name="T48" fmla="*/ 18 w 570"/>
                <a:gd name="T49" fmla="*/ 286 h 570"/>
                <a:gd name="T50" fmla="*/ 28 w 570"/>
                <a:gd name="T51" fmla="*/ 364 h 570"/>
                <a:gd name="T52" fmla="*/ 62 w 570"/>
                <a:gd name="T53" fmla="*/ 434 h 570"/>
                <a:gd name="T54" fmla="*/ 96 w 570"/>
                <a:gd name="T55" fmla="*/ 474 h 570"/>
                <a:gd name="T56" fmla="*/ 158 w 570"/>
                <a:gd name="T57" fmla="*/ 522 h 570"/>
                <a:gd name="T58" fmla="*/ 232 w 570"/>
                <a:gd name="T59" fmla="*/ 548 h 570"/>
                <a:gd name="T60" fmla="*/ 284 w 570"/>
                <a:gd name="T61" fmla="*/ 552 h 570"/>
                <a:gd name="T62" fmla="*/ 362 w 570"/>
                <a:gd name="T63" fmla="*/ 542 h 570"/>
                <a:gd name="T64" fmla="*/ 434 w 570"/>
                <a:gd name="T65" fmla="*/ 508 h 570"/>
                <a:gd name="T66" fmla="*/ 474 w 570"/>
                <a:gd name="T67" fmla="*/ 474 h 570"/>
                <a:gd name="T68" fmla="*/ 518 w 570"/>
                <a:gd name="T69" fmla="*/ 416 h 570"/>
                <a:gd name="T70" fmla="*/ 544 w 570"/>
                <a:gd name="T71" fmla="*/ 348 h 570"/>
                <a:gd name="T72" fmla="*/ 552 w 570"/>
                <a:gd name="T73" fmla="*/ 278 h 570"/>
                <a:gd name="T74" fmla="*/ 542 w 570"/>
                <a:gd name="T75" fmla="*/ 208 h 570"/>
                <a:gd name="T76" fmla="*/ 510 w 570"/>
                <a:gd name="T77" fmla="*/ 142 h 570"/>
                <a:gd name="T78" fmla="*/ 506 w 570"/>
                <a:gd name="T79" fmla="*/ 104 h 570"/>
                <a:gd name="T80" fmla="*/ 526 w 570"/>
                <a:gd name="T81" fmla="*/ 132 h 570"/>
                <a:gd name="T82" fmla="*/ 558 w 570"/>
                <a:gd name="T83" fmla="*/ 202 h 570"/>
                <a:gd name="T84" fmla="*/ 570 w 570"/>
                <a:gd name="T85" fmla="*/ 278 h 570"/>
                <a:gd name="T86" fmla="*/ 562 w 570"/>
                <a:gd name="T87" fmla="*/ 354 h 570"/>
                <a:gd name="T88" fmla="*/ 534 w 570"/>
                <a:gd name="T89" fmla="*/ 424 h 570"/>
                <a:gd name="T90" fmla="*/ 486 w 570"/>
                <a:gd name="T91" fmla="*/ 488 h 570"/>
                <a:gd name="T92" fmla="*/ 444 w 570"/>
                <a:gd name="T93" fmla="*/ 524 h 570"/>
                <a:gd name="T94" fmla="*/ 368 w 570"/>
                <a:gd name="T95" fmla="*/ 558 h 570"/>
                <a:gd name="T96" fmla="*/ 284 w 570"/>
                <a:gd name="T97" fmla="*/ 570 h 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70" h="570">
                  <a:moveTo>
                    <a:pt x="284" y="570"/>
                  </a:moveTo>
                  <a:lnTo>
                    <a:pt x="284" y="570"/>
                  </a:lnTo>
                  <a:lnTo>
                    <a:pt x="256" y="570"/>
                  </a:lnTo>
                  <a:lnTo>
                    <a:pt x="228" y="566"/>
                  </a:lnTo>
                  <a:lnTo>
                    <a:pt x="202" y="558"/>
                  </a:lnTo>
                  <a:lnTo>
                    <a:pt x="176" y="550"/>
                  </a:lnTo>
                  <a:lnTo>
                    <a:pt x="150" y="538"/>
                  </a:lnTo>
                  <a:lnTo>
                    <a:pt x="126" y="524"/>
                  </a:lnTo>
                  <a:lnTo>
                    <a:pt x="104" y="506"/>
                  </a:lnTo>
                  <a:lnTo>
                    <a:pt x="82" y="488"/>
                  </a:lnTo>
                  <a:lnTo>
                    <a:pt x="82" y="488"/>
                  </a:lnTo>
                  <a:lnTo>
                    <a:pt x="64" y="466"/>
                  </a:lnTo>
                  <a:lnTo>
                    <a:pt x="48" y="444"/>
                  </a:lnTo>
                  <a:lnTo>
                    <a:pt x="32" y="420"/>
                  </a:lnTo>
                  <a:lnTo>
                    <a:pt x="20" y="394"/>
                  </a:lnTo>
                  <a:lnTo>
                    <a:pt x="12" y="368"/>
                  </a:lnTo>
                  <a:lnTo>
                    <a:pt x="4" y="342"/>
                  </a:lnTo>
                  <a:lnTo>
                    <a:pt x="0" y="314"/>
                  </a:lnTo>
                  <a:lnTo>
                    <a:pt x="0" y="286"/>
                  </a:lnTo>
                  <a:lnTo>
                    <a:pt x="0" y="286"/>
                  </a:lnTo>
                  <a:lnTo>
                    <a:pt x="0" y="256"/>
                  </a:lnTo>
                  <a:lnTo>
                    <a:pt x="4" y="230"/>
                  </a:lnTo>
                  <a:lnTo>
                    <a:pt x="12" y="202"/>
                  </a:lnTo>
                  <a:lnTo>
                    <a:pt x="20" y="176"/>
                  </a:lnTo>
                  <a:lnTo>
                    <a:pt x="32" y="150"/>
                  </a:lnTo>
                  <a:lnTo>
                    <a:pt x="48" y="126"/>
                  </a:lnTo>
                  <a:lnTo>
                    <a:pt x="64" y="104"/>
                  </a:lnTo>
                  <a:lnTo>
                    <a:pt x="82" y="84"/>
                  </a:lnTo>
                  <a:lnTo>
                    <a:pt x="82" y="84"/>
                  </a:lnTo>
                  <a:lnTo>
                    <a:pt x="102" y="66"/>
                  </a:lnTo>
                  <a:lnTo>
                    <a:pt x="124" y="50"/>
                  </a:lnTo>
                  <a:lnTo>
                    <a:pt x="144" y="36"/>
                  </a:lnTo>
                  <a:lnTo>
                    <a:pt x="168" y="24"/>
                  </a:lnTo>
                  <a:lnTo>
                    <a:pt x="192" y="16"/>
                  </a:lnTo>
                  <a:lnTo>
                    <a:pt x="216" y="8"/>
                  </a:lnTo>
                  <a:lnTo>
                    <a:pt x="240" y="4"/>
                  </a:lnTo>
                  <a:lnTo>
                    <a:pt x="264" y="0"/>
                  </a:lnTo>
                  <a:lnTo>
                    <a:pt x="290" y="0"/>
                  </a:lnTo>
                  <a:lnTo>
                    <a:pt x="316" y="2"/>
                  </a:lnTo>
                  <a:lnTo>
                    <a:pt x="340" y="6"/>
                  </a:lnTo>
                  <a:lnTo>
                    <a:pt x="364" y="12"/>
                  </a:lnTo>
                  <a:lnTo>
                    <a:pt x="388" y="20"/>
                  </a:lnTo>
                  <a:lnTo>
                    <a:pt x="412" y="30"/>
                  </a:lnTo>
                  <a:lnTo>
                    <a:pt x="434" y="42"/>
                  </a:lnTo>
                  <a:lnTo>
                    <a:pt x="456" y="58"/>
                  </a:lnTo>
                  <a:lnTo>
                    <a:pt x="464" y="62"/>
                  </a:lnTo>
                  <a:lnTo>
                    <a:pt x="452" y="78"/>
                  </a:lnTo>
                  <a:lnTo>
                    <a:pt x="446" y="72"/>
                  </a:lnTo>
                  <a:lnTo>
                    <a:pt x="446" y="72"/>
                  </a:lnTo>
                  <a:lnTo>
                    <a:pt x="426" y="58"/>
                  </a:lnTo>
                  <a:lnTo>
                    <a:pt x="404" y="46"/>
                  </a:lnTo>
                  <a:lnTo>
                    <a:pt x="382" y="36"/>
                  </a:lnTo>
                  <a:lnTo>
                    <a:pt x="360" y="28"/>
                  </a:lnTo>
                  <a:lnTo>
                    <a:pt x="336" y="22"/>
                  </a:lnTo>
                  <a:lnTo>
                    <a:pt x="314" y="20"/>
                  </a:lnTo>
                  <a:lnTo>
                    <a:pt x="290" y="18"/>
                  </a:lnTo>
                  <a:lnTo>
                    <a:pt x="266" y="18"/>
                  </a:lnTo>
                  <a:lnTo>
                    <a:pt x="242" y="22"/>
                  </a:lnTo>
                  <a:lnTo>
                    <a:pt x="220" y="26"/>
                  </a:lnTo>
                  <a:lnTo>
                    <a:pt x="198" y="32"/>
                  </a:lnTo>
                  <a:lnTo>
                    <a:pt x="176" y="42"/>
                  </a:lnTo>
                  <a:lnTo>
                    <a:pt x="154" y="52"/>
                  </a:lnTo>
                  <a:lnTo>
                    <a:pt x="134" y="64"/>
                  </a:lnTo>
                  <a:lnTo>
                    <a:pt x="114" y="80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78" y="116"/>
                  </a:lnTo>
                  <a:lnTo>
                    <a:pt x="62" y="136"/>
                  </a:lnTo>
                  <a:lnTo>
                    <a:pt x="48" y="160"/>
                  </a:lnTo>
                  <a:lnTo>
                    <a:pt x="38" y="182"/>
                  </a:lnTo>
                  <a:lnTo>
                    <a:pt x="28" y="208"/>
                  </a:lnTo>
                  <a:lnTo>
                    <a:pt x="22" y="232"/>
                  </a:lnTo>
                  <a:lnTo>
                    <a:pt x="18" y="258"/>
                  </a:lnTo>
                  <a:lnTo>
                    <a:pt x="18" y="286"/>
                  </a:lnTo>
                  <a:lnTo>
                    <a:pt x="18" y="286"/>
                  </a:lnTo>
                  <a:lnTo>
                    <a:pt x="18" y="312"/>
                  </a:lnTo>
                  <a:lnTo>
                    <a:pt x="22" y="338"/>
                  </a:lnTo>
                  <a:lnTo>
                    <a:pt x="28" y="364"/>
                  </a:lnTo>
                  <a:lnTo>
                    <a:pt x="38" y="388"/>
                  </a:lnTo>
                  <a:lnTo>
                    <a:pt x="48" y="412"/>
                  </a:lnTo>
                  <a:lnTo>
                    <a:pt x="62" y="434"/>
                  </a:lnTo>
                  <a:lnTo>
                    <a:pt x="78" y="454"/>
                  </a:lnTo>
                  <a:lnTo>
                    <a:pt x="96" y="474"/>
                  </a:lnTo>
                  <a:lnTo>
                    <a:pt x="96" y="474"/>
                  </a:lnTo>
                  <a:lnTo>
                    <a:pt x="116" y="492"/>
                  </a:lnTo>
                  <a:lnTo>
                    <a:pt x="136" y="508"/>
                  </a:lnTo>
                  <a:lnTo>
                    <a:pt x="158" y="522"/>
                  </a:lnTo>
                  <a:lnTo>
                    <a:pt x="182" y="532"/>
                  </a:lnTo>
                  <a:lnTo>
                    <a:pt x="206" y="542"/>
                  </a:lnTo>
                  <a:lnTo>
                    <a:pt x="232" y="548"/>
                  </a:lnTo>
                  <a:lnTo>
                    <a:pt x="258" y="552"/>
                  </a:lnTo>
                  <a:lnTo>
                    <a:pt x="284" y="552"/>
                  </a:lnTo>
                  <a:lnTo>
                    <a:pt x="284" y="552"/>
                  </a:lnTo>
                  <a:lnTo>
                    <a:pt x="312" y="552"/>
                  </a:lnTo>
                  <a:lnTo>
                    <a:pt x="338" y="548"/>
                  </a:lnTo>
                  <a:lnTo>
                    <a:pt x="362" y="542"/>
                  </a:lnTo>
                  <a:lnTo>
                    <a:pt x="388" y="532"/>
                  </a:lnTo>
                  <a:lnTo>
                    <a:pt x="410" y="522"/>
                  </a:lnTo>
                  <a:lnTo>
                    <a:pt x="434" y="508"/>
                  </a:lnTo>
                  <a:lnTo>
                    <a:pt x="454" y="492"/>
                  </a:lnTo>
                  <a:lnTo>
                    <a:pt x="474" y="474"/>
                  </a:lnTo>
                  <a:lnTo>
                    <a:pt x="474" y="474"/>
                  </a:lnTo>
                  <a:lnTo>
                    <a:pt x="492" y="456"/>
                  </a:lnTo>
                  <a:lnTo>
                    <a:pt x="506" y="436"/>
                  </a:lnTo>
                  <a:lnTo>
                    <a:pt x="518" y="416"/>
                  </a:lnTo>
                  <a:lnTo>
                    <a:pt x="530" y="394"/>
                  </a:lnTo>
                  <a:lnTo>
                    <a:pt x="538" y="372"/>
                  </a:lnTo>
                  <a:lnTo>
                    <a:pt x="544" y="348"/>
                  </a:lnTo>
                  <a:lnTo>
                    <a:pt x="550" y="326"/>
                  </a:lnTo>
                  <a:lnTo>
                    <a:pt x="552" y="302"/>
                  </a:lnTo>
                  <a:lnTo>
                    <a:pt x="552" y="278"/>
                  </a:lnTo>
                  <a:lnTo>
                    <a:pt x="550" y="254"/>
                  </a:lnTo>
                  <a:lnTo>
                    <a:pt x="546" y="232"/>
                  </a:lnTo>
                  <a:lnTo>
                    <a:pt x="542" y="208"/>
                  </a:lnTo>
                  <a:lnTo>
                    <a:pt x="534" y="186"/>
                  </a:lnTo>
                  <a:lnTo>
                    <a:pt x="522" y="164"/>
                  </a:lnTo>
                  <a:lnTo>
                    <a:pt x="510" y="142"/>
                  </a:lnTo>
                  <a:lnTo>
                    <a:pt x="496" y="122"/>
                  </a:lnTo>
                  <a:lnTo>
                    <a:pt x="490" y="114"/>
                  </a:lnTo>
                  <a:lnTo>
                    <a:pt x="506" y="104"/>
                  </a:lnTo>
                  <a:lnTo>
                    <a:pt x="510" y="110"/>
                  </a:lnTo>
                  <a:lnTo>
                    <a:pt x="510" y="110"/>
                  </a:lnTo>
                  <a:lnTo>
                    <a:pt x="526" y="132"/>
                  </a:lnTo>
                  <a:lnTo>
                    <a:pt x="538" y="154"/>
                  </a:lnTo>
                  <a:lnTo>
                    <a:pt x="550" y="178"/>
                  </a:lnTo>
                  <a:lnTo>
                    <a:pt x="558" y="202"/>
                  </a:lnTo>
                  <a:lnTo>
                    <a:pt x="564" y="228"/>
                  </a:lnTo>
                  <a:lnTo>
                    <a:pt x="568" y="252"/>
                  </a:lnTo>
                  <a:lnTo>
                    <a:pt x="570" y="278"/>
                  </a:lnTo>
                  <a:lnTo>
                    <a:pt x="570" y="304"/>
                  </a:lnTo>
                  <a:lnTo>
                    <a:pt x="568" y="328"/>
                  </a:lnTo>
                  <a:lnTo>
                    <a:pt x="562" y="354"/>
                  </a:lnTo>
                  <a:lnTo>
                    <a:pt x="556" y="378"/>
                  </a:lnTo>
                  <a:lnTo>
                    <a:pt x="546" y="402"/>
                  </a:lnTo>
                  <a:lnTo>
                    <a:pt x="534" y="424"/>
                  </a:lnTo>
                  <a:lnTo>
                    <a:pt x="520" y="446"/>
                  </a:lnTo>
                  <a:lnTo>
                    <a:pt x="504" y="468"/>
                  </a:lnTo>
                  <a:lnTo>
                    <a:pt x="486" y="488"/>
                  </a:lnTo>
                  <a:lnTo>
                    <a:pt x="486" y="488"/>
                  </a:lnTo>
                  <a:lnTo>
                    <a:pt x="466" y="506"/>
                  </a:lnTo>
                  <a:lnTo>
                    <a:pt x="444" y="524"/>
                  </a:lnTo>
                  <a:lnTo>
                    <a:pt x="420" y="538"/>
                  </a:lnTo>
                  <a:lnTo>
                    <a:pt x="394" y="550"/>
                  </a:lnTo>
                  <a:lnTo>
                    <a:pt x="368" y="558"/>
                  </a:lnTo>
                  <a:lnTo>
                    <a:pt x="342" y="566"/>
                  </a:lnTo>
                  <a:lnTo>
                    <a:pt x="314" y="570"/>
                  </a:lnTo>
                  <a:lnTo>
                    <a:pt x="284" y="570"/>
                  </a:lnTo>
                  <a:lnTo>
                    <a:pt x="284" y="57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2" name="Freeform 36">
              <a:extLst>
                <a:ext uri="{FF2B5EF4-FFF2-40B4-BE49-F238E27FC236}">
                  <a16:creationId xmlns:a16="http://schemas.microsoft.com/office/drawing/2014/main" id="{DFD92C56-AB5E-4336-B3B2-9E6204959D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0463" y="3271838"/>
              <a:ext cx="727075" cy="727075"/>
            </a:xfrm>
            <a:custGeom>
              <a:avLst/>
              <a:gdLst>
                <a:gd name="T0" fmla="*/ 206 w 458"/>
                <a:gd name="T1" fmla="*/ 458 h 458"/>
                <a:gd name="T2" fmla="*/ 142 w 458"/>
                <a:gd name="T3" fmla="*/ 442 h 458"/>
                <a:gd name="T4" fmla="*/ 84 w 458"/>
                <a:gd name="T5" fmla="*/ 408 h 458"/>
                <a:gd name="T6" fmla="*/ 52 w 458"/>
                <a:gd name="T7" fmla="*/ 374 h 458"/>
                <a:gd name="T8" fmla="*/ 16 w 458"/>
                <a:gd name="T9" fmla="*/ 318 h 458"/>
                <a:gd name="T10" fmla="*/ 0 w 458"/>
                <a:gd name="T11" fmla="*/ 252 h 458"/>
                <a:gd name="T12" fmla="*/ 0 w 458"/>
                <a:gd name="T13" fmla="*/ 206 h 458"/>
                <a:gd name="T14" fmla="*/ 16 w 458"/>
                <a:gd name="T15" fmla="*/ 142 h 458"/>
                <a:gd name="T16" fmla="*/ 52 w 458"/>
                <a:gd name="T17" fmla="*/ 84 h 458"/>
                <a:gd name="T18" fmla="*/ 82 w 458"/>
                <a:gd name="T19" fmla="*/ 54 h 458"/>
                <a:gd name="T20" fmla="*/ 132 w 458"/>
                <a:gd name="T21" fmla="*/ 20 h 458"/>
                <a:gd name="T22" fmla="*/ 190 w 458"/>
                <a:gd name="T23" fmla="*/ 4 h 458"/>
                <a:gd name="T24" fmla="*/ 248 w 458"/>
                <a:gd name="T25" fmla="*/ 0 h 458"/>
                <a:gd name="T26" fmla="*/ 306 w 458"/>
                <a:gd name="T27" fmla="*/ 14 h 458"/>
                <a:gd name="T28" fmla="*/ 360 w 458"/>
                <a:gd name="T29" fmla="*/ 42 h 458"/>
                <a:gd name="T30" fmla="*/ 350 w 458"/>
                <a:gd name="T31" fmla="*/ 56 h 458"/>
                <a:gd name="T32" fmla="*/ 318 w 458"/>
                <a:gd name="T33" fmla="*/ 38 h 458"/>
                <a:gd name="T34" fmla="*/ 264 w 458"/>
                <a:gd name="T35" fmla="*/ 20 h 458"/>
                <a:gd name="T36" fmla="*/ 210 w 458"/>
                <a:gd name="T37" fmla="*/ 18 h 458"/>
                <a:gd name="T38" fmla="*/ 158 w 458"/>
                <a:gd name="T39" fmla="*/ 30 h 458"/>
                <a:gd name="T40" fmla="*/ 108 w 458"/>
                <a:gd name="T41" fmla="*/ 56 h 458"/>
                <a:gd name="T42" fmla="*/ 80 w 458"/>
                <a:gd name="T43" fmla="*/ 80 h 458"/>
                <a:gd name="T44" fmla="*/ 42 w 458"/>
                <a:gd name="T45" fmla="*/ 130 h 458"/>
                <a:gd name="T46" fmla="*/ 22 w 458"/>
                <a:gd name="T47" fmla="*/ 188 h 458"/>
                <a:gd name="T48" fmla="*/ 18 w 458"/>
                <a:gd name="T49" fmla="*/ 230 h 458"/>
                <a:gd name="T50" fmla="*/ 26 w 458"/>
                <a:gd name="T51" fmla="*/ 290 h 458"/>
                <a:gd name="T52" fmla="*/ 52 w 458"/>
                <a:gd name="T53" fmla="*/ 346 h 458"/>
                <a:gd name="T54" fmla="*/ 80 w 458"/>
                <a:gd name="T55" fmla="*/ 378 h 458"/>
                <a:gd name="T56" fmla="*/ 130 w 458"/>
                <a:gd name="T57" fmla="*/ 416 h 458"/>
                <a:gd name="T58" fmla="*/ 188 w 458"/>
                <a:gd name="T59" fmla="*/ 436 h 458"/>
                <a:gd name="T60" fmla="*/ 250 w 458"/>
                <a:gd name="T61" fmla="*/ 440 h 458"/>
                <a:gd name="T62" fmla="*/ 308 w 458"/>
                <a:gd name="T63" fmla="*/ 424 h 458"/>
                <a:gd name="T64" fmla="*/ 362 w 458"/>
                <a:gd name="T65" fmla="*/ 394 h 458"/>
                <a:gd name="T66" fmla="*/ 392 w 458"/>
                <a:gd name="T67" fmla="*/ 364 h 458"/>
                <a:gd name="T68" fmla="*/ 422 w 458"/>
                <a:gd name="T69" fmla="*/ 316 h 458"/>
                <a:gd name="T70" fmla="*/ 438 w 458"/>
                <a:gd name="T71" fmla="*/ 264 h 458"/>
                <a:gd name="T72" fmla="*/ 440 w 458"/>
                <a:gd name="T73" fmla="*/ 210 h 458"/>
                <a:gd name="T74" fmla="*/ 428 w 458"/>
                <a:gd name="T75" fmla="*/ 156 h 458"/>
                <a:gd name="T76" fmla="*/ 400 w 458"/>
                <a:gd name="T77" fmla="*/ 106 h 458"/>
                <a:gd name="T78" fmla="*/ 414 w 458"/>
                <a:gd name="T79" fmla="*/ 94 h 458"/>
                <a:gd name="T80" fmla="*/ 436 w 458"/>
                <a:gd name="T81" fmla="*/ 130 h 458"/>
                <a:gd name="T82" fmla="*/ 454 w 458"/>
                <a:gd name="T83" fmla="*/ 188 h 458"/>
                <a:gd name="T84" fmla="*/ 458 w 458"/>
                <a:gd name="T85" fmla="*/ 248 h 458"/>
                <a:gd name="T86" fmla="*/ 446 w 458"/>
                <a:gd name="T87" fmla="*/ 306 h 458"/>
                <a:gd name="T88" fmla="*/ 418 w 458"/>
                <a:gd name="T89" fmla="*/ 360 h 458"/>
                <a:gd name="T90" fmla="*/ 392 w 458"/>
                <a:gd name="T91" fmla="*/ 392 h 458"/>
                <a:gd name="T92" fmla="*/ 336 w 458"/>
                <a:gd name="T93" fmla="*/ 432 h 458"/>
                <a:gd name="T94" fmla="*/ 272 w 458"/>
                <a:gd name="T95" fmla="*/ 454 h 458"/>
                <a:gd name="T96" fmla="*/ 228 w 458"/>
                <a:gd name="T97" fmla="*/ 458 h 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58" h="458">
                  <a:moveTo>
                    <a:pt x="228" y="458"/>
                  </a:moveTo>
                  <a:lnTo>
                    <a:pt x="228" y="458"/>
                  </a:lnTo>
                  <a:lnTo>
                    <a:pt x="206" y="458"/>
                  </a:lnTo>
                  <a:lnTo>
                    <a:pt x="186" y="454"/>
                  </a:lnTo>
                  <a:lnTo>
                    <a:pt x="164" y="450"/>
                  </a:lnTo>
                  <a:lnTo>
                    <a:pt x="142" y="442"/>
                  </a:lnTo>
                  <a:lnTo>
                    <a:pt x="122" y="432"/>
                  </a:lnTo>
                  <a:lnTo>
                    <a:pt x="102" y="420"/>
                  </a:lnTo>
                  <a:lnTo>
                    <a:pt x="84" y="408"/>
                  </a:lnTo>
                  <a:lnTo>
                    <a:pt x="66" y="392"/>
                  </a:lnTo>
                  <a:lnTo>
                    <a:pt x="66" y="392"/>
                  </a:lnTo>
                  <a:lnTo>
                    <a:pt x="52" y="374"/>
                  </a:lnTo>
                  <a:lnTo>
                    <a:pt x="38" y="356"/>
                  </a:lnTo>
                  <a:lnTo>
                    <a:pt x="26" y="338"/>
                  </a:lnTo>
                  <a:lnTo>
                    <a:pt x="16" y="318"/>
                  </a:lnTo>
                  <a:lnTo>
                    <a:pt x="10" y="296"/>
                  </a:lnTo>
                  <a:lnTo>
                    <a:pt x="4" y="274"/>
                  </a:lnTo>
                  <a:lnTo>
                    <a:pt x="0" y="252"/>
                  </a:lnTo>
                  <a:lnTo>
                    <a:pt x="0" y="230"/>
                  </a:lnTo>
                  <a:lnTo>
                    <a:pt x="0" y="230"/>
                  </a:lnTo>
                  <a:lnTo>
                    <a:pt x="0" y="206"/>
                  </a:lnTo>
                  <a:lnTo>
                    <a:pt x="4" y="184"/>
                  </a:lnTo>
                  <a:lnTo>
                    <a:pt x="10" y="162"/>
                  </a:lnTo>
                  <a:lnTo>
                    <a:pt x="16" y="142"/>
                  </a:lnTo>
                  <a:lnTo>
                    <a:pt x="26" y="122"/>
                  </a:lnTo>
                  <a:lnTo>
                    <a:pt x="38" y="102"/>
                  </a:lnTo>
                  <a:lnTo>
                    <a:pt x="52" y="84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82" y="54"/>
                  </a:lnTo>
                  <a:lnTo>
                    <a:pt x="98" y="40"/>
                  </a:lnTo>
                  <a:lnTo>
                    <a:pt x="116" y="30"/>
                  </a:lnTo>
                  <a:lnTo>
                    <a:pt x="132" y="20"/>
                  </a:lnTo>
                  <a:lnTo>
                    <a:pt x="152" y="14"/>
                  </a:lnTo>
                  <a:lnTo>
                    <a:pt x="170" y="8"/>
                  </a:lnTo>
                  <a:lnTo>
                    <a:pt x="190" y="4"/>
                  </a:lnTo>
                  <a:lnTo>
                    <a:pt x="208" y="0"/>
                  </a:lnTo>
                  <a:lnTo>
                    <a:pt x="228" y="0"/>
                  </a:lnTo>
                  <a:lnTo>
                    <a:pt x="248" y="0"/>
                  </a:lnTo>
                  <a:lnTo>
                    <a:pt x="268" y="4"/>
                  </a:lnTo>
                  <a:lnTo>
                    <a:pt x="286" y="8"/>
                  </a:lnTo>
                  <a:lnTo>
                    <a:pt x="306" y="14"/>
                  </a:lnTo>
                  <a:lnTo>
                    <a:pt x="324" y="20"/>
                  </a:lnTo>
                  <a:lnTo>
                    <a:pt x="342" y="30"/>
                  </a:lnTo>
                  <a:lnTo>
                    <a:pt x="360" y="42"/>
                  </a:lnTo>
                  <a:lnTo>
                    <a:pt x="368" y="46"/>
                  </a:lnTo>
                  <a:lnTo>
                    <a:pt x="358" y="62"/>
                  </a:lnTo>
                  <a:lnTo>
                    <a:pt x="350" y="56"/>
                  </a:lnTo>
                  <a:lnTo>
                    <a:pt x="350" y="56"/>
                  </a:lnTo>
                  <a:lnTo>
                    <a:pt x="334" y="46"/>
                  </a:lnTo>
                  <a:lnTo>
                    <a:pt x="318" y="38"/>
                  </a:lnTo>
                  <a:lnTo>
                    <a:pt x="300" y="30"/>
                  </a:lnTo>
                  <a:lnTo>
                    <a:pt x="282" y="24"/>
                  </a:lnTo>
                  <a:lnTo>
                    <a:pt x="264" y="20"/>
                  </a:lnTo>
                  <a:lnTo>
                    <a:pt x="246" y="18"/>
                  </a:lnTo>
                  <a:lnTo>
                    <a:pt x="228" y="18"/>
                  </a:lnTo>
                  <a:lnTo>
                    <a:pt x="210" y="18"/>
                  </a:lnTo>
                  <a:lnTo>
                    <a:pt x="192" y="20"/>
                  </a:lnTo>
                  <a:lnTo>
                    <a:pt x="174" y="24"/>
                  </a:lnTo>
                  <a:lnTo>
                    <a:pt x="158" y="30"/>
                  </a:lnTo>
                  <a:lnTo>
                    <a:pt x="140" y="38"/>
                  </a:lnTo>
                  <a:lnTo>
                    <a:pt x="124" y="46"/>
                  </a:lnTo>
                  <a:lnTo>
                    <a:pt x="108" y="56"/>
                  </a:lnTo>
                  <a:lnTo>
                    <a:pt x="94" y="66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66" y="96"/>
                  </a:lnTo>
                  <a:lnTo>
                    <a:pt x="52" y="112"/>
                  </a:lnTo>
                  <a:lnTo>
                    <a:pt x="42" y="130"/>
                  </a:lnTo>
                  <a:lnTo>
                    <a:pt x="34" y="148"/>
                  </a:lnTo>
                  <a:lnTo>
                    <a:pt x="26" y="168"/>
                  </a:lnTo>
                  <a:lnTo>
                    <a:pt x="22" y="188"/>
                  </a:lnTo>
                  <a:lnTo>
                    <a:pt x="18" y="208"/>
                  </a:lnTo>
                  <a:lnTo>
                    <a:pt x="18" y="230"/>
                  </a:lnTo>
                  <a:lnTo>
                    <a:pt x="18" y="230"/>
                  </a:lnTo>
                  <a:lnTo>
                    <a:pt x="18" y="250"/>
                  </a:lnTo>
                  <a:lnTo>
                    <a:pt x="22" y="270"/>
                  </a:lnTo>
                  <a:lnTo>
                    <a:pt x="26" y="290"/>
                  </a:lnTo>
                  <a:lnTo>
                    <a:pt x="34" y="310"/>
                  </a:lnTo>
                  <a:lnTo>
                    <a:pt x="42" y="328"/>
                  </a:lnTo>
                  <a:lnTo>
                    <a:pt x="52" y="346"/>
                  </a:lnTo>
                  <a:lnTo>
                    <a:pt x="66" y="364"/>
                  </a:lnTo>
                  <a:lnTo>
                    <a:pt x="80" y="378"/>
                  </a:lnTo>
                  <a:lnTo>
                    <a:pt x="80" y="378"/>
                  </a:lnTo>
                  <a:lnTo>
                    <a:pt x="96" y="394"/>
                  </a:lnTo>
                  <a:lnTo>
                    <a:pt x="112" y="406"/>
                  </a:lnTo>
                  <a:lnTo>
                    <a:pt x="130" y="416"/>
                  </a:lnTo>
                  <a:lnTo>
                    <a:pt x="150" y="426"/>
                  </a:lnTo>
                  <a:lnTo>
                    <a:pt x="168" y="432"/>
                  </a:lnTo>
                  <a:lnTo>
                    <a:pt x="188" y="436"/>
                  </a:lnTo>
                  <a:lnTo>
                    <a:pt x="208" y="440"/>
                  </a:lnTo>
                  <a:lnTo>
                    <a:pt x="228" y="440"/>
                  </a:lnTo>
                  <a:lnTo>
                    <a:pt x="250" y="440"/>
                  </a:lnTo>
                  <a:lnTo>
                    <a:pt x="270" y="436"/>
                  </a:lnTo>
                  <a:lnTo>
                    <a:pt x="290" y="432"/>
                  </a:lnTo>
                  <a:lnTo>
                    <a:pt x="308" y="424"/>
                  </a:lnTo>
                  <a:lnTo>
                    <a:pt x="328" y="416"/>
                  </a:lnTo>
                  <a:lnTo>
                    <a:pt x="346" y="406"/>
                  </a:lnTo>
                  <a:lnTo>
                    <a:pt x="362" y="394"/>
                  </a:lnTo>
                  <a:lnTo>
                    <a:pt x="378" y="378"/>
                  </a:lnTo>
                  <a:lnTo>
                    <a:pt x="378" y="378"/>
                  </a:lnTo>
                  <a:lnTo>
                    <a:pt x="392" y="364"/>
                  </a:lnTo>
                  <a:lnTo>
                    <a:pt x="402" y="350"/>
                  </a:lnTo>
                  <a:lnTo>
                    <a:pt x="414" y="334"/>
                  </a:lnTo>
                  <a:lnTo>
                    <a:pt x="422" y="316"/>
                  </a:lnTo>
                  <a:lnTo>
                    <a:pt x="428" y="300"/>
                  </a:lnTo>
                  <a:lnTo>
                    <a:pt x="434" y="282"/>
                  </a:lnTo>
                  <a:lnTo>
                    <a:pt x="438" y="264"/>
                  </a:lnTo>
                  <a:lnTo>
                    <a:pt x="440" y="246"/>
                  </a:lnTo>
                  <a:lnTo>
                    <a:pt x="440" y="228"/>
                  </a:lnTo>
                  <a:lnTo>
                    <a:pt x="440" y="210"/>
                  </a:lnTo>
                  <a:lnTo>
                    <a:pt x="436" y="192"/>
                  </a:lnTo>
                  <a:lnTo>
                    <a:pt x="432" y="174"/>
                  </a:lnTo>
                  <a:lnTo>
                    <a:pt x="428" y="156"/>
                  </a:lnTo>
                  <a:lnTo>
                    <a:pt x="420" y="138"/>
                  </a:lnTo>
                  <a:lnTo>
                    <a:pt x="410" y="122"/>
                  </a:lnTo>
                  <a:lnTo>
                    <a:pt x="400" y="106"/>
                  </a:lnTo>
                  <a:lnTo>
                    <a:pt x="394" y="98"/>
                  </a:lnTo>
                  <a:lnTo>
                    <a:pt x="410" y="88"/>
                  </a:lnTo>
                  <a:lnTo>
                    <a:pt x="414" y="94"/>
                  </a:lnTo>
                  <a:lnTo>
                    <a:pt x="414" y="94"/>
                  </a:lnTo>
                  <a:lnTo>
                    <a:pt x="426" y="112"/>
                  </a:lnTo>
                  <a:lnTo>
                    <a:pt x="436" y="130"/>
                  </a:lnTo>
                  <a:lnTo>
                    <a:pt x="444" y="150"/>
                  </a:lnTo>
                  <a:lnTo>
                    <a:pt x="450" y="168"/>
                  </a:lnTo>
                  <a:lnTo>
                    <a:pt x="454" y="188"/>
                  </a:lnTo>
                  <a:lnTo>
                    <a:pt x="458" y="208"/>
                  </a:lnTo>
                  <a:lnTo>
                    <a:pt x="458" y="228"/>
                  </a:lnTo>
                  <a:lnTo>
                    <a:pt x="458" y="248"/>
                  </a:lnTo>
                  <a:lnTo>
                    <a:pt x="456" y="268"/>
                  </a:lnTo>
                  <a:lnTo>
                    <a:pt x="452" y="286"/>
                  </a:lnTo>
                  <a:lnTo>
                    <a:pt x="446" y="306"/>
                  </a:lnTo>
                  <a:lnTo>
                    <a:pt x="438" y="324"/>
                  </a:lnTo>
                  <a:lnTo>
                    <a:pt x="428" y="342"/>
                  </a:lnTo>
                  <a:lnTo>
                    <a:pt x="418" y="360"/>
                  </a:lnTo>
                  <a:lnTo>
                    <a:pt x="406" y="376"/>
                  </a:lnTo>
                  <a:lnTo>
                    <a:pt x="392" y="392"/>
                  </a:lnTo>
                  <a:lnTo>
                    <a:pt x="392" y="392"/>
                  </a:lnTo>
                  <a:lnTo>
                    <a:pt x="374" y="408"/>
                  </a:lnTo>
                  <a:lnTo>
                    <a:pt x="356" y="420"/>
                  </a:lnTo>
                  <a:lnTo>
                    <a:pt x="336" y="432"/>
                  </a:lnTo>
                  <a:lnTo>
                    <a:pt x="316" y="442"/>
                  </a:lnTo>
                  <a:lnTo>
                    <a:pt x="294" y="448"/>
                  </a:lnTo>
                  <a:lnTo>
                    <a:pt x="272" y="454"/>
                  </a:lnTo>
                  <a:lnTo>
                    <a:pt x="250" y="458"/>
                  </a:lnTo>
                  <a:lnTo>
                    <a:pt x="228" y="458"/>
                  </a:lnTo>
                  <a:lnTo>
                    <a:pt x="228" y="45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3" name="Freeform 37">
              <a:extLst>
                <a:ext uri="{FF2B5EF4-FFF2-40B4-BE49-F238E27FC236}">
                  <a16:creationId xmlns:a16="http://schemas.microsoft.com/office/drawing/2014/main" id="{241D984D-0E94-4597-BE97-36BCF27517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9363" y="3360738"/>
              <a:ext cx="549275" cy="549275"/>
            </a:xfrm>
            <a:custGeom>
              <a:avLst/>
              <a:gdLst>
                <a:gd name="T0" fmla="*/ 172 w 346"/>
                <a:gd name="T1" fmla="*/ 346 h 346"/>
                <a:gd name="T2" fmla="*/ 140 w 346"/>
                <a:gd name="T3" fmla="*/ 342 h 346"/>
                <a:gd name="T4" fmla="*/ 108 w 346"/>
                <a:gd name="T5" fmla="*/ 334 h 346"/>
                <a:gd name="T6" fmla="*/ 78 w 346"/>
                <a:gd name="T7" fmla="*/ 318 h 346"/>
                <a:gd name="T8" fmla="*/ 50 w 346"/>
                <a:gd name="T9" fmla="*/ 296 h 346"/>
                <a:gd name="T10" fmla="*/ 38 w 346"/>
                <a:gd name="T11" fmla="*/ 282 h 346"/>
                <a:gd name="T12" fmla="*/ 20 w 346"/>
                <a:gd name="T13" fmla="*/ 254 h 346"/>
                <a:gd name="T14" fmla="*/ 8 w 346"/>
                <a:gd name="T15" fmla="*/ 222 h 346"/>
                <a:gd name="T16" fmla="*/ 2 w 346"/>
                <a:gd name="T17" fmla="*/ 190 h 346"/>
                <a:gd name="T18" fmla="*/ 2 w 346"/>
                <a:gd name="T19" fmla="*/ 156 h 346"/>
                <a:gd name="T20" fmla="*/ 8 w 346"/>
                <a:gd name="T21" fmla="*/ 124 h 346"/>
                <a:gd name="T22" fmla="*/ 20 w 346"/>
                <a:gd name="T23" fmla="*/ 92 h 346"/>
                <a:gd name="T24" fmla="*/ 38 w 346"/>
                <a:gd name="T25" fmla="*/ 64 h 346"/>
                <a:gd name="T26" fmla="*/ 50 w 346"/>
                <a:gd name="T27" fmla="*/ 52 h 346"/>
                <a:gd name="T28" fmla="*/ 74 w 346"/>
                <a:gd name="T29" fmla="*/ 32 h 346"/>
                <a:gd name="T30" fmla="*/ 98 w 346"/>
                <a:gd name="T31" fmla="*/ 18 h 346"/>
                <a:gd name="T32" fmla="*/ 152 w 346"/>
                <a:gd name="T33" fmla="*/ 2 h 346"/>
                <a:gd name="T34" fmla="*/ 208 w 346"/>
                <a:gd name="T35" fmla="*/ 4 h 346"/>
                <a:gd name="T36" fmla="*/ 236 w 346"/>
                <a:gd name="T37" fmla="*/ 12 h 346"/>
                <a:gd name="T38" fmla="*/ 262 w 346"/>
                <a:gd name="T39" fmla="*/ 26 h 346"/>
                <a:gd name="T40" fmla="*/ 262 w 346"/>
                <a:gd name="T41" fmla="*/ 46 h 346"/>
                <a:gd name="T42" fmla="*/ 254 w 346"/>
                <a:gd name="T43" fmla="*/ 42 h 346"/>
                <a:gd name="T44" fmla="*/ 206 w 346"/>
                <a:gd name="T45" fmla="*/ 22 h 346"/>
                <a:gd name="T46" fmla="*/ 154 w 346"/>
                <a:gd name="T47" fmla="*/ 20 h 346"/>
                <a:gd name="T48" fmla="*/ 106 w 346"/>
                <a:gd name="T49" fmla="*/ 34 h 346"/>
                <a:gd name="T50" fmla="*/ 64 w 346"/>
                <a:gd name="T51" fmla="*/ 64 h 346"/>
                <a:gd name="T52" fmla="*/ 52 w 346"/>
                <a:gd name="T53" fmla="*/ 76 h 346"/>
                <a:gd name="T54" fmla="*/ 36 w 346"/>
                <a:gd name="T55" fmla="*/ 102 h 346"/>
                <a:gd name="T56" fmla="*/ 24 w 346"/>
                <a:gd name="T57" fmla="*/ 130 h 346"/>
                <a:gd name="T58" fmla="*/ 18 w 346"/>
                <a:gd name="T59" fmla="*/ 158 h 346"/>
                <a:gd name="T60" fmla="*/ 18 w 346"/>
                <a:gd name="T61" fmla="*/ 188 h 346"/>
                <a:gd name="T62" fmla="*/ 24 w 346"/>
                <a:gd name="T63" fmla="*/ 218 h 346"/>
                <a:gd name="T64" fmla="*/ 36 w 346"/>
                <a:gd name="T65" fmla="*/ 246 h 346"/>
                <a:gd name="T66" fmla="*/ 52 w 346"/>
                <a:gd name="T67" fmla="*/ 270 h 346"/>
                <a:gd name="T68" fmla="*/ 64 w 346"/>
                <a:gd name="T69" fmla="*/ 282 h 346"/>
                <a:gd name="T70" fmla="*/ 88 w 346"/>
                <a:gd name="T71" fmla="*/ 302 h 346"/>
                <a:gd name="T72" fmla="*/ 114 w 346"/>
                <a:gd name="T73" fmla="*/ 316 h 346"/>
                <a:gd name="T74" fmla="*/ 144 w 346"/>
                <a:gd name="T75" fmla="*/ 326 h 346"/>
                <a:gd name="T76" fmla="*/ 172 w 346"/>
                <a:gd name="T77" fmla="*/ 328 h 346"/>
                <a:gd name="T78" fmla="*/ 202 w 346"/>
                <a:gd name="T79" fmla="*/ 326 h 346"/>
                <a:gd name="T80" fmla="*/ 232 w 346"/>
                <a:gd name="T81" fmla="*/ 316 h 346"/>
                <a:gd name="T82" fmla="*/ 258 w 346"/>
                <a:gd name="T83" fmla="*/ 302 h 346"/>
                <a:gd name="T84" fmla="*/ 282 w 346"/>
                <a:gd name="T85" fmla="*/ 282 h 346"/>
                <a:gd name="T86" fmla="*/ 300 w 346"/>
                <a:gd name="T87" fmla="*/ 262 h 346"/>
                <a:gd name="T88" fmla="*/ 322 w 346"/>
                <a:gd name="T89" fmla="*/ 216 h 346"/>
                <a:gd name="T90" fmla="*/ 328 w 346"/>
                <a:gd name="T91" fmla="*/ 164 h 346"/>
                <a:gd name="T92" fmla="*/ 316 w 346"/>
                <a:gd name="T93" fmla="*/ 114 h 346"/>
                <a:gd name="T94" fmla="*/ 298 w 346"/>
                <a:gd name="T95" fmla="*/ 82 h 346"/>
                <a:gd name="T96" fmla="*/ 318 w 346"/>
                <a:gd name="T97" fmla="*/ 80 h 346"/>
                <a:gd name="T98" fmla="*/ 326 w 346"/>
                <a:gd name="T99" fmla="*/ 92 h 346"/>
                <a:gd name="T100" fmla="*/ 338 w 346"/>
                <a:gd name="T101" fmla="*/ 120 h 346"/>
                <a:gd name="T102" fmla="*/ 344 w 346"/>
                <a:gd name="T103" fmla="*/ 148 h 346"/>
                <a:gd name="T104" fmla="*/ 344 w 346"/>
                <a:gd name="T105" fmla="*/ 192 h 346"/>
                <a:gd name="T106" fmla="*/ 334 w 346"/>
                <a:gd name="T107" fmla="*/ 234 h 346"/>
                <a:gd name="T108" fmla="*/ 322 w 346"/>
                <a:gd name="T109" fmla="*/ 260 h 346"/>
                <a:gd name="T110" fmla="*/ 306 w 346"/>
                <a:gd name="T111" fmla="*/ 284 h 346"/>
                <a:gd name="T112" fmla="*/ 296 w 346"/>
                <a:gd name="T113" fmla="*/ 296 h 346"/>
                <a:gd name="T114" fmla="*/ 268 w 346"/>
                <a:gd name="T115" fmla="*/ 318 h 346"/>
                <a:gd name="T116" fmla="*/ 238 w 346"/>
                <a:gd name="T117" fmla="*/ 334 h 346"/>
                <a:gd name="T118" fmla="*/ 206 w 346"/>
                <a:gd name="T119" fmla="*/ 342 h 346"/>
                <a:gd name="T120" fmla="*/ 172 w 346"/>
                <a:gd name="T121" fmla="*/ 346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46" h="346">
                  <a:moveTo>
                    <a:pt x="172" y="346"/>
                  </a:moveTo>
                  <a:lnTo>
                    <a:pt x="172" y="346"/>
                  </a:lnTo>
                  <a:lnTo>
                    <a:pt x="156" y="346"/>
                  </a:lnTo>
                  <a:lnTo>
                    <a:pt x="140" y="342"/>
                  </a:lnTo>
                  <a:lnTo>
                    <a:pt x="124" y="338"/>
                  </a:lnTo>
                  <a:lnTo>
                    <a:pt x="108" y="334"/>
                  </a:lnTo>
                  <a:lnTo>
                    <a:pt x="92" y="326"/>
                  </a:lnTo>
                  <a:lnTo>
                    <a:pt x="78" y="318"/>
                  </a:lnTo>
                  <a:lnTo>
                    <a:pt x="64" y="308"/>
                  </a:lnTo>
                  <a:lnTo>
                    <a:pt x="50" y="296"/>
                  </a:lnTo>
                  <a:lnTo>
                    <a:pt x="50" y="296"/>
                  </a:lnTo>
                  <a:lnTo>
                    <a:pt x="38" y="282"/>
                  </a:lnTo>
                  <a:lnTo>
                    <a:pt x="28" y="268"/>
                  </a:lnTo>
                  <a:lnTo>
                    <a:pt x="20" y="254"/>
                  </a:lnTo>
                  <a:lnTo>
                    <a:pt x="12" y="238"/>
                  </a:lnTo>
                  <a:lnTo>
                    <a:pt x="8" y="222"/>
                  </a:lnTo>
                  <a:lnTo>
                    <a:pt x="4" y="206"/>
                  </a:lnTo>
                  <a:lnTo>
                    <a:pt x="2" y="190"/>
                  </a:lnTo>
                  <a:lnTo>
                    <a:pt x="0" y="174"/>
                  </a:lnTo>
                  <a:lnTo>
                    <a:pt x="2" y="156"/>
                  </a:lnTo>
                  <a:lnTo>
                    <a:pt x="4" y="140"/>
                  </a:lnTo>
                  <a:lnTo>
                    <a:pt x="8" y="124"/>
                  </a:lnTo>
                  <a:lnTo>
                    <a:pt x="12" y="108"/>
                  </a:lnTo>
                  <a:lnTo>
                    <a:pt x="20" y="92"/>
                  </a:lnTo>
                  <a:lnTo>
                    <a:pt x="28" y="78"/>
                  </a:lnTo>
                  <a:lnTo>
                    <a:pt x="38" y="64"/>
                  </a:lnTo>
                  <a:lnTo>
                    <a:pt x="50" y="52"/>
                  </a:lnTo>
                  <a:lnTo>
                    <a:pt x="50" y="52"/>
                  </a:lnTo>
                  <a:lnTo>
                    <a:pt x="62" y="40"/>
                  </a:lnTo>
                  <a:lnTo>
                    <a:pt x="74" y="32"/>
                  </a:lnTo>
                  <a:lnTo>
                    <a:pt x="86" y="24"/>
                  </a:lnTo>
                  <a:lnTo>
                    <a:pt x="98" y="18"/>
                  </a:lnTo>
                  <a:lnTo>
                    <a:pt x="124" y="8"/>
                  </a:lnTo>
                  <a:lnTo>
                    <a:pt x="152" y="2"/>
                  </a:lnTo>
                  <a:lnTo>
                    <a:pt x="180" y="0"/>
                  </a:lnTo>
                  <a:lnTo>
                    <a:pt x="208" y="4"/>
                  </a:lnTo>
                  <a:lnTo>
                    <a:pt x="222" y="8"/>
                  </a:lnTo>
                  <a:lnTo>
                    <a:pt x="236" y="12"/>
                  </a:lnTo>
                  <a:lnTo>
                    <a:pt x="250" y="18"/>
                  </a:lnTo>
                  <a:lnTo>
                    <a:pt x="262" y="26"/>
                  </a:lnTo>
                  <a:lnTo>
                    <a:pt x="270" y="30"/>
                  </a:lnTo>
                  <a:lnTo>
                    <a:pt x="262" y="46"/>
                  </a:lnTo>
                  <a:lnTo>
                    <a:pt x="254" y="42"/>
                  </a:lnTo>
                  <a:lnTo>
                    <a:pt x="254" y="42"/>
                  </a:lnTo>
                  <a:lnTo>
                    <a:pt x="230" y="30"/>
                  </a:lnTo>
                  <a:lnTo>
                    <a:pt x="206" y="22"/>
                  </a:lnTo>
                  <a:lnTo>
                    <a:pt x="180" y="18"/>
                  </a:lnTo>
                  <a:lnTo>
                    <a:pt x="154" y="20"/>
                  </a:lnTo>
                  <a:lnTo>
                    <a:pt x="130" y="24"/>
                  </a:lnTo>
                  <a:lnTo>
                    <a:pt x="106" y="34"/>
                  </a:lnTo>
                  <a:lnTo>
                    <a:pt x="84" y="46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52" y="76"/>
                  </a:lnTo>
                  <a:lnTo>
                    <a:pt x="44" y="88"/>
                  </a:lnTo>
                  <a:lnTo>
                    <a:pt x="36" y="102"/>
                  </a:lnTo>
                  <a:lnTo>
                    <a:pt x="30" y="114"/>
                  </a:lnTo>
                  <a:lnTo>
                    <a:pt x="24" y="130"/>
                  </a:lnTo>
                  <a:lnTo>
                    <a:pt x="22" y="144"/>
                  </a:lnTo>
                  <a:lnTo>
                    <a:pt x="18" y="158"/>
                  </a:lnTo>
                  <a:lnTo>
                    <a:pt x="18" y="174"/>
                  </a:lnTo>
                  <a:lnTo>
                    <a:pt x="18" y="188"/>
                  </a:lnTo>
                  <a:lnTo>
                    <a:pt x="22" y="202"/>
                  </a:lnTo>
                  <a:lnTo>
                    <a:pt x="24" y="218"/>
                  </a:lnTo>
                  <a:lnTo>
                    <a:pt x="30" y="232"/>
                  </a:lnTo>
                  <a:lnTo>
                    <a:pt x="36" y="246"/>
                  </a:lnTo>
                  <a:lnTo>
                    <a:pt x="44" y="258"/>
                  </a:lnTo>
                  <a:lnTo>
                    <a:pt x="52" y="270"/>
                  </a:lnTo>
                  <a:lnTo>
                    <a:pt x="64" y="282"/>
                  </a:lnTo>
                  <a:lnTo>
                    <a:pt x="64" y="282"/>
                  </a:lnTo>
                  <a:lnTo>
                    <a:pt x="76" y="294"/>
                  </a:lnTo>
                  <a:lnTo>
                    <a:pt x="88" y="302"/>
                  </a:lnTo>
                  <a:lnTo>
                    <a:pt x="100" y="310"/>
                  </a:lnTo>
                  <a:lnTo>
                    <a:pt x="114" y="316"/>
                  </a:lnTo>
                  <a:lnTo>
                    <a:pt x="128" y="322"/>
                  </a:lnTo>
                  <a:lnTo>
                    <a:pt x="144" y="326"/>
                  </a:lnTo>
                  <a:lnTo>
                    <a:pt x="158" y="328"/>
                  </a:lnTo>
                  <a:lnTo>
                    <a:pt x="172" y="328"/>
                  </a:lnTo>
                  <a:lnTo>
                    <a:pt x="188" y="328"/>
                  </a:lnTo>
                  <a:lnTo>
                    <a:pt x="202" y="326"/>
                  </a:lnTo>
                  <a:lnTo>
                    <a:pt x="216" y="322"/>
                  </a:lnTo>
                  <a:lnTo>
                    <a:pt x="232" y="316"/>
                  </a:lnTo>
                  <a:lnTo>
                    <a:pt x="244" y="310"/>
                  </a:lnTo>
                  <a:lnTo>
                    <a:pt x="258" y="302"/>
                  </a:lnTo>
                  <a:lnTo>
                    <a:pt x="270" y="294"/>
                  </a:lnTo>
                  <a:lnTo>
                    <a:pt x="282" y="282"/>
                  </a:lnTo>
                  <a:lnTo>
                    <a:pt x="282" y="282"/>
                  </a:lnTo>
                  <a:lnTo>
                    <a:pt x="300" y="262"/>
                  </a:lnTo>
                  <a:lnTo>
                    <a:pt x="312" y="240"/>
                  </a:lnTo>
                  <a:lnTo>
                    <a:pt x="322" y="216"/>
                  </a:lnTo>
                  <a:lnTo>
                    <a:pt x="326" y="190"/>
                  </a:lnTo>
                  <a:lnTo>
                    <a:pt x="328" y="164"/>
                  </a:lnTo>
                  <a:lnTo>
                    <a:pt x="324" y="138"/>
                  </a:lnTo>
                  <a:lnTo>
                    <a:pt x="316" y="114"/>
                  </a:lnTo>
                  <a:lnTo>
                    <a:pt x="304" y="90"/>
                  </a:lnTo>
                  <a:lnTo>
                    <a:pt x="298" y="82"/>
                  </a:lnTo>
                  <a:lnTo>
                    <a:pt x="314" y="72"/>
                  </a:lnTo>
                  <a:lnTo>
                    <a:pt x="318" y="80"/>
                  </a:lnTo>
                  <a:lnTo>
                    <a:pt x="318" y="80"/>
                  </a:lnTo>
                  <a:lnTo>
                    <a:pt x="326" y="92"/>
                  </a:lnTo>
                  <a:lnTo>
                    <a:pt x="332" y="106"/>
                  </a:lnTo>
                  <a:lnTo>
                    <a:pt x="338" y="120"/>
                  </a:lnTo>
                  <a:lnTo>
                    <a:pt x="342" y="134"/>
                  </a:lnTo>
                  <a:lnTo>
                    <a:pt x="344" y="148"/>
                  </a:lnTo>
                  <a:lnTo>
                    <a:pt x="346" y="162"/>
                  </a:lnTo>
                  <a:lnTo>
                    <a:pt x="344" y="192"/>
                  </a:lnTo>
                  <a:lnTo>
                    <a:pt x="338" y="220"/>
                  </a:lnTo>
                  <a:lnTo>
                    <a:pt x="334" y="234"/>
                  </a:lnTo>
                  <a:lnTo>
                    <a:pt x="328" y="248"/>
                  </a:lnTo>
                  <a:lnTo>
                    <a:pt x="322" y="260"/>
                  </a:lnTo>
                  <a:lnTo>
                    <a:pt x="314" y="272"/>
                  </a:lnTo>
                  <a:lnTo>
                    <a:pt x="306" y="284"/>
                  </a:lnTo>
                  <a:lnTo>
                    <a:pt x="296" y="296"/>
                  </a:lnTo>
                  <a:lnTo>
                    <a:pt x="296" y="296"/>
                  </a:lnTo>
                  <a:lnTo>
                    <a:pt x="282" y="308"/>
                  </a:lnTo>
                  <a:lnTo>
                    <a:pt x="268" y="318"/>
                  </a:lnTo>
                  <a:lnTo>
                    <a:pt x="254" y="326"/>
                  </a:lnTo>
                  <a:lnTo>
                    <a:pt x="238" y="334"/>
                  </a:lnTo>
                  <a:lnTo>
                    <a:pt x="222" y="338"/>
                  </a:lnTo>
                  <a:lnTo>
                    <a:pt x="206" y="342"/>
                  </a:lnTo>
                  <a:lnTo>
                    <a:pt x="190" y="346"/>
                  </a:lnTo>
                  <a:lnTo>
                    <a:pt x="172" y="346"/>
                  </a:lnTo>
                  <a:lnTo>
                    <a:pt x="172" y="34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4" name="Freeform 38">
              <a:extLst>
                <a:ext uri="{FF2B5EF4-FFF2-40B4-BE49-F238E27FC236}">
                  <a16:creationId xmlns:a16="http://schemas.microsoft.com/office/drawing/2014/main" id="{5DAF7C79-CBAA-4BD2-8E42-17BD41DF0FD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7788" y="3459163"/>
              <a:ext cx="352425" cy="352425"/>
            </a:xfrm>
            <a:custGeom>
              <a:avLst/>
              <a:gdLst>
                <a:gd name="T0" fmla="*/ 110 w 222"/>
                <a:gd name="T1" fmla="*/ 222 h 222"/>
                <a:gd name="T2" fmla="*/ 70 w 222"/>
                <a:gd name="T3" fmla="*/ 214 h 222"/>
                <a:gd name="T4" fmla="*/ 32 w 222"/>
                <a:gd name="T5" fmla="*/ 190 h 222"/>
                <a:gd name="T6" fmla="*/ 18 w 222"/>
                <a:gd name="T7" fmla="*/ 172 h 222"/>
                <a:gd name="T8" fmla="*/ 2 w 222"/>
                <a:gd name="T9" fmla="*/ 134 h 222"/>
                <a:gd name="T10" fmla="*/ 0 w 222"/>
                <a:gd name="T11" fmla="*/ 112 h 222"/>
                <a:gd name="T12" fmla="*/ 8 w 222"/>
                <a:gd name="T13" fmla="*/ 68 h 222"/>
                <a:gd name="T14" fmla="*/ 32 w 222"/>
                <a:gd name="T15" fmla="*/ 32 h 222"/>
                <a:gd name="T16" fmla="*/ 46 w 222"/>
                <a:gd name="T17" fmla="*/ 22 h 222"/>
                <a:gd name="T18" fmla="*/ 74 w 222"/>
                <a:gd name="T19" fmla="*/ 6 h 222"/>
                <a:gd name="T20" fmla="*/ 106 w 222"/>
                <a:gd name="T21" fmla="*/ 0 h 222"/>
                <a:gd name="T22" fmla="*/ 138 w 222"/>
                <a:gd name="T23" fmla="*/ 4 h 222"/>
                <a:gd name="T24" fmla="*/ 162 w 222"/>
                <a:gd name="T25" fmla="*/ 12 h 222"/>
                <a:gd name="T26" fmla="*/ 146 w 222"/>
                <a:gd name="T27" fmla="*/ 26 h 222"/>
                <a:gd name="T28" fmla="*/ 134 w 222"/>
                <a:gd name="T29" fmla="*/ 22 h 222"/>
                <a:gd name="T30" fmla="*/ 106 w 222"/>
                <a:gd name="T31" fmla="*/ 18 h 222"/>
                <a:gd name="T32" fmla="*/ 80 w 222"/>
                <a:gd name="T33" fmla="*/ 24 h 222"/>
                <a:gd name="T34" fmla="*/ 56 w 222"/>
                <a:gd name="T35" fmla="*/ 36 h 222"/>
                <a:gd name="T36" fmla="*/ 46 w 222"/>
                <a:gd name="T37" fmla="*/ 46 h 222"/>
                <a:gd name="T38" fmla="*/ 24 w 222"/>
                <a:gd name="T39" fmla="*/ 76 h 222"/>
                <a:gd name="T40" fmla="*/ 18 w 222"/>
                <a:gd name="T41" fmla="*/ 112 h 222"/>
                <a:gd name="T42" fmla="*/ 20 w 222"/>
                <a:gd name="T43" fmla="*/ 130 h 222"/>
                <a:gd name="T44" fmla="*/ 34 w 222"/>
                <a:gd name="T45" fmla="*/ 162 h 222"/>
                <a:gd name="T46" fmla="*/ 46 w 222"/>
                <a:gd name="T47" fmla="*/ 176 h 222"/>
                <a:gd name="T48" fmla="*/ 76 w 222"/>
                <a:gd name="T49" fmla="*/ 198 h 222"/>
                <a:gd name="T50" fmla="*/ 110 w 222"/>
                <a:gd name="T51" fmla="*/ 204 h 222"/>
                <a:gd name="T52" fmla="*/ 146 w 222"/>
                <a:gd name="T53" fmla="*/ 198 h 222"/>
                <a:gd name="T54" fmla="*/ 176 w 222"/>
                <a:gd name="T55" fmla="*/ 176 h 222"/>
                <a:gd name="T56" fmla="*/ 186 w 222"/>
                <a:gd name="T57" fmla="*/ 166 h 222"/>
                <a:gd name="T58" fmla="*/ 198 w 222"/>
                <a:gd name="T59" fmla="*/ 140 h 222"/>
                <a:gd name="T60" fmla="*/ 204 w 222"/>
                <a:gd name="T61" fmla="*/ 114 h 222"/>
                <a:gd name="T62" fmla="*/ 200 w 222"/>
                <a:gd name="T63" fmla="*/ 86 h 222"/>
                <a:gd name="T64" fmla="*/ 192 w 222"/>
                <a:gd name="T65" fmla="*/ 64 h 222"/>
                <a:gd name="T66" fmla="*/ 212 w 222"/>
                <a:gd name="T67" fmla="*/ 64 h 222"/>
                <a:gd name="T68" fmla="*/ 218 w 222"/>
                <a:gd name="T69" fmla="*/ 80 h 222"/>
                <a:gd name="T70" fmla="*/ 222 w 222"/>
                <a:gd name="T71" fmla="*/ 114 h 222"/>
                <a:gd name="T72" fmla="*/ 216 w 222"/>
                <a:gd name="T73" fmla="*/ 146 h 222"/>
                <a:gd name="T74" fmla="*/ 200 w 222"/>
                <a:gd name="T75" fmla="*/ 176 h 222"/>
                <a:gd name="T76" fmla="*/ 190 w 222"/>
                <a:gd name="T77" fmla="*/ 190 h 222"/>
                <a:gd name="T78" fmla="*/ 152 w 222"/>
                <a:gd name="T79" fmla="*/ 214 h 222"/>
                <a:gd name="T80" fmla="*/ 110 w 222"/>
                <a:gd name="T81" fmla="*/ 222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22" h="222">
                  <a:moveTo>
                    <a:pt x="110" y="222"/>
                  </a:moveTo>
                  <a:lnTo>
                    <a:pt x="110" y="222"/>
                  </a:lnTo>
                  <a:lnTo>
                    <a:pt x="90" y="220"/>
                  </a:lnTo>
                  <a:lnTo>
                    <a:pt x="70" y="214"/>
                  </a:lnTo>
                  <a:lnTo>
                    <a:pt x="50" y="204"/>
                  </a:lnTo>
                  <a:lnTo>
                    <a:pt x="32" y="190"/>
                  </a:lnTo>
                  <a:lnTo>
                    <a:pt x="32" y="190"/>
                  </a:lnTo>
                  <a:lnTo>
                    <a:pt x="18" y="172"/>
                  </a:lnTo>
                  <a:lnTo>
                    <a:pt x="8" y="154"/>
                  </a:lnTo>
                  <a:lnTo>
                    <a:pt x="2" y="134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2" y="90"/>
                  </a:lnTo>
                  <a:lnTo>
                    <a:pt x="8" y="68"/>
                  </a:lnTo>
                  <a:lnTo>
                    <a:pt x="18" y="50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46" y="22"/>
                  </a:lnTo>
                  <a:lnTo>
                    <a:pt x="60" y="14"/>
                  </a:lnTo>
                  <a:lnTo>
                    <a:pt x="74" y="6"/>
                  </a:lnTo>
                  <a:lnTo>
                    <a:pt x="90" y="2"/>
                  </a:lnTo>
                  <a:lnTo>
                    <a:pt x="106" y="0"/>
                  </a:lnTo>
                  <a:lnTo>
                    <a:pt x="122" y="0"/>
                  </a:lnTo>
                  <a:lnTo>
                    <a:pt x="138" y="4"/>
                  </a:lnTo>
                  <a:lnTo>
                    <a:pt x="154" y="8"/>
                  </a:lnTo>
                  <a:lnTo>
                    <a:pt x="162" y="12"/>
                  </a:lnTo>
                  <a:lnTo>
                    <a:pt x="156" y="28"/>
                  </a:lnTo>
                  <a:lnTo>
                    <a:pt x="146" y="26"/>
                  </a:lnTo>
                  <a:lnTo>
                    <a:pt x="146" y="26"/>
                  </a:lnTo>
                  <a:lnTo>
                    <a:pt x="134" y="22"/>
                  </a:lnTo>
                  <a:lnTo>
                    <a:pt x="120" y="18"/>
                  </a:lnTo>
                  <a:lnTo>
                    <a:pt x="106" y="18"/>
                  </a:lnTo>
                  <a:lnTo>
                    <a:pt x="92" y="20"/>
                  </a:lnTo>
                  <a:lnTo>
                    <a:pt x="80" y="24"/>
                  </a:lnTo>
                  <a:lnTo>
                    <a:pt x="68" y="28"/>
                  </a:lnTo>
                  <a:lnTo>
                    <a:pt x="56" y="36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34" y="60"/>
                  </a:lnTo>
                  <a:lnTo>
                    <a:pt x="24" y="76"/>
                  </a:lnTo>
                  <a:lnTo>
                    <a:pt x="20" y="92"/>
                  </a:lnTo>
                  <a:lnTo>
                    <a:pt x="18" y="112"/>
                  </a:lnTo>
                  <a:lnTo>
                    <a:pt x="18" y="112"/>
                  </a:lnTo>
                  <a:lnTo>
                    <a:pt x="20" y="130"/>
                  </a:lnTo>
                  <a:lnTo>
                    <a:pt x="24" y="146"/>
                  </a:lnTo>
                  <a:lnTo>
                    <a:pt x="34" y="162"/>
                  </a:lnTo>
                  <a:lnTo>
                    <a:pt x="46" y="176"/>
                  </a:lnTo>
                  <a:lnTo>
                    <a:pt x="46" y="176"/>
                  </a:lnTo>
                  <a:lnTo>
                    <a:pt x="60" y="188"/>
                  </a:lnTo>
                  <a:lnTo>
                    <a:pt x="76" y="198"/>
                  </a:lnTo>
                  <a:lnTo>
                    <a:pt x="94" y="202"/>
                  </a:lnTo>
                  <a:lnTo>
                    <a:pt x="110" y="204"/>
                  </a:lnTo>
                  <a:lnTo>
                    <a:pt x="128" y="202"/>
                  </a:lnTo>
                  <a:lnTo>
                    <a:pt x="146" y="198"/>
                  </a:lnTo>
                  <a:lnTo>
                    <a:pt x="162" y="188"/>
                  </a:lnTo>
                  <a:lnTo>
                    <a:pt x="176" y="176"/>
                  </a:lnTo>
                  <a:lnTo>
                    <a:pt x="176" y="176"/>
                  </a:lnTo>
                  <a:lnTo>
                    <a:pt x="186" y="166"/>
                  </a:lnTo>
                  <a:lnTo>
                    <a:pt x="194" y="154"/>
                  </a:lnTo>
                  <a:lnTo>
                    <a:pt x="198" y="140"/>
                  </a:lnTo>
                  <a:lnTo>
                    <a:pt x="202" y="128"/>
                  </a:lnTo>
                  <a:lnTo>
                    <a:pt x="204" y="114"/>
                  </a:lnTo>
                  <a:lnTo>
                    <a:pt x="204" y="100"/>
                  </a:lnTo>
                  <a:lnTo>
                    <a:pt x="200" y="86"/>
                  </a:lnTo>
                  <a:lnTo>
                    <a:pt x="196" y="72"/>
                  </a:lnTo>
                  <a:lnTo>
                    <a:pt x="192" y="64"/>
                  </a:lnTo>
                  <a:lnTo>
                    <a:pt x="208" y="56"/>
                  </a:lnTo>
                  <a:lnTo>
                    <a:pt x="212" y="64"/>
                  </a:lnTo>
                  <a:lnTo>
                    <a:pt x="212" y="64"/>
                  </a:lnTo>
                  <a:lnTo>
                    <a:pt x="218" y="80"/>
                  </a:lnTo>
                  <a:lnTo>
                    <a:pt x="220" y="98"/>
                  </a:lnTo>
                  <a:lnTo>
                    <a:pt x="222" y="114"/>
                  </a:lnTo>
                  <a:lnTo>
                    <a:pt x="220" y="130"/>
                  </a:lnTo>
                  <a:lnTo>
                    <a:pt x="216" y="146"/>
                  </a:lnTo>
                  <a:lnTo>
                    <a:pt x="210" y="162"/>
                  </a:lnTo>
                  <a:lnTo>
                    <a:pt x="200" y="176"/>
                  </a:lnTo>
                  <a:lnTo>
                    <a:pt x="190" y="190"/>
                  </a:lnTo>
                  <a:lnTo>
                    <a:pt x="190" y="190"/>
                  </a:lnTo>
                  <a:lnTo>
                    <a:pt x="172" y="204"/>
                  </a:lnTo>
                  <a:lnTo>
                    <a:pt x="152" y="214"/>
                  </a:lnTo>
                  <a:lnTo>
                    <a:pt x="132" y="220"/>
                  </a:lnTo>
                  <a:lnTo>
                    <a:pt x="110" y="222"/>
                  </a:lnTo>
                  <a:lnTo>
                    <a:pt x="110" y="22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5" name="Freeform 39">
              <a:extLst>
                <a:ext uri="{FF2B5EF4-FFF2-40B4-BE49-F238E27FC236}">
                  <a16:creationId xmlns:a16="http://schemas.microsoft.com/office/drawing/2014/main" id="{8B14D021-138E-4DFD-BC90-A0570BCC1F63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663" y="3989388"/>
              <a:ext cx="187325" cy="187325"/>
            </a:xfrm>
            <a:custGeom>
              <a:avLst/>
              <a:gdLst>
                <a:gd name="T0" fmla="*/ 12 w 118"/>
                <a:gd name="T1" fmla="*/ 118 h 118"/>
                <a:gd name="T2" fmla="*/ 0 w 118"/>
                <a:gd name="T3" fmla="*/ 106 h 118"/>
                <a:gd name="T4" fmla="*/ 106 w 118"/>
                <a:gd name="T5" fmla="*/ 0 h 118"/>
                <a:gd name="T6" fmla="*/ 118 w 118"/>
                <a:gd name="T7" fmla="*/ 12 h 118"/>
                <a:gd name="T8" fmla="*/ 12 w 118"/>
                <a:gd name="T9" fmla="*/ 11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118">
                  <a:moveTo>
                    <a:pt x="12" y="118"/>
                  </a:moveTo>
                  <a:lnTo>
                    <a:pt x="0" y="106"/>
                  </a:lnTo>
                  <a:lnTo>
                    <a:pt x="106" y="0"/>
                  </a:lnTo>
                  <a:lnTo>
                    <a:pt x="118" y="12"/>
                  </a:lnTo>
                  <a:lnTo>
                    <a:pt x="12" y="11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26" name="Freeform 40">
              <a:extLst>
                <a:ext uri="{FF2B5EF4-FFF2-40B4-BE49-F238E27FC236}">
                  <a16:creationId xmlns:a16="http://schemas.microsoft.com/office/drawing/2014/main" id="{894D711C-DAA4-480C-A01E-7C5CAF4AD0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1188" y="3983038"/>
              <a:ext cx="187325" cy="190500"/>
            </a:xfrm>
            <a:custGeom>
              <a:avLst/>
              <a:gdLst>
                <a:gd name="T0" fmla="*/ 106 w 118"/>
                <a:gd name="T1" fmla="*/ 120 h 120"/>
                <a:gd name="T2" fmla="*/ 0 w 118"/>
                <a:gd name="T3" fmla="*/ 14 h 120"/>
                <a:gd name="T4" fmla="*/ 12 w 118"/>
                <a:gd name="T5" fmla="*/ 0 h 120"/>
                <a:gd name="T6" fmla="*/ 118 w 118"/>
                <a:gd name="T7" fmla="*/ 106 h 120"/>
                <a:gd name="T8" fmla="*/ 106 w 118"/>
                <a:gd name="T9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8" h="120">
                  <a:moveTo>
                    <a:pt x="106" y="120"/>
                  </a:moveTo>
                  <a:lnTo>
                    <a:pt x="0" y="14"/>
                  </a:lnTo>
                  <a:lnTo>
                    <a:pt x="12" y="0"/>
                  </a:lnTo>
                  <a:lnTo>
                    <a:pt x="118" y="106"/>
                  </a:lnTo>
                  <a:lnTo>
                    <a:pt x="106" y="12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3397037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DBC599-5222-4E22-9DAA-BF75F546D0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5362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DBC599-5222-4E22-9DAA-BF75F546D0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picture containing person, person, indoor&#10;&#10;Description automatically generated">
            <a:extLst>
              <a:ext uri="{FF2B5EF4-FFF2-40B4-BE49-F238E27FC236}">
                <a16:creationId xmlns:a16="http://schemas.microsoft.com/office/drawing/2014/main" id="{C821CA8D-FF83-42D6-9530-5F5D14FAEA3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36" r="62987"/>
          <a:stretch/>
        </p:blipFill>
        <p:spPr>
          <a:xfrm>
            <a:off x="3176" y="0"/>
            <a:ext cx="2384459" cy="6858000"/>
          </a:xfrm>
          <a:prstGeom prst="rect">
            <a:avLst/>
          </a:prstGeom>
        </p:spPr>
      </p:pic>
      <p:sp>
        <p:nvSpPr>
          <p:cNvPr id="2" name="Titlu 1">
            <a:extLst>
              <a:ext uri="{FF2B5EF4-FFF2-40B4-BE49-F238E27FC236}">
                <a16:creationId xmlns:a16="http://schemas.microsoft.com/office/drawing/2014/main" id="{0A3E0A2C-3081-4559-99A2-125333E9B4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 vert="horz"/>
          <a:lstStyle/>
          <a:p>
            <a:r>
              <a:rPr lang="ro-RO" dirty="0">
                <a:latin typeface="+mj-lt"/>
              </a:rPr>
              <a:t>Serviciile de consultanță livrate de către EY în cadrul SIMSIP</a:t>
            </a:r>
            <a:endParaRPr lang="en-US" dirty="0"/>
          </a:p>
        </p:txBody>
      </p:sp>
      <p:sp>
        <p:nvSpPr>
          <p:cNvPr id="5" name="Substituent număr diapozitiv 4">
            <a:extLst>
              <a:ext uri="{FF2B5EF4-FFF2-40B4-BE49-F238E27FC236}">
                <a16:creationId xmlns:a16="http://schemas.microsoft.com/office/drawing/2014/main" id="{7920C105-58A5-45EE-9D40-ED01203078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 dirty="0">
                <a:solidFill>
                  <a:schemeClr val="tx1"/>
                </a:solidFill>
              </a:rPr>
              <a:t>Pag</a:t>
            </a:r>
            <a:r>
              <a:rPr lang="ro-RO" dirty="0">
                <a:solidFill>
                  <a:schemeClr val="tx1"/>
                </a:solidFill>
              </a:rPr>
              <a:t>ina</a:t>
            </a:r>
            <a:r>
              <a:rPr lang="en-GB" dirty="0">
                <a:solidFill>
                  <a:schemeClr val="tx1"/>
                </a:solidFill>
              </a:rPr>
              <a:t> </a:t>
            </a:r>
            <a:fld id="{F1BC30E3-FFE5-4B91-AA19-87A149EBB9EE}" type="slidenum">
              <a:rPr smtClean="0">
                <a:solidFill>
                  <a:schemeClr val="tx1"/>
                </a:solidFill>
              </a:rPr>
              <a:pPr/>
              <a:t>3</a:t>
            </a:fld>
            <a:endParaRPr dirty="0">
              <a:solidFill>
                <a:schemeClr val="tx1"/>
              </a:solidFill>
            </a:endParaRPr>
          </a:p>
        </p:txBody>
      </p:sp>
      <p:sp>
        <p:nvSpPr>
          <p:cNvPr id="9" name="CasetăText 8">
            <a:extLst>
              <a:ext uri="{FF2B5EF4-FFF2-40B4-BE49-F238E27FC236}">
                <a16:creationId xmlns:a16="http://schemas.microsoft.com/office/drawing/2014/main" id="{BEBA9945-03E3-4F9E-B357-F4C5006E194C}"/>
              </a:ext>
            </a:extLst>
          </p:cNvPr>
          <p:cNvSpPr txBox="1"/>
          <p:nvPr/>
        </p:nvSpPr>
        <p:spPr>
          <a:xfrm>
            <a:off x="2695293" y="1312760"/>
            <a:ext cx="6172483" cy="498598"/>
          </a:xfrm>
          <a:prstGeom prst="rect">
            <a:avLst/>
          </a:prstGeom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t" anchorCtr="0">
            <a:spAutoFit/>
          </a:bodyPr>
          <a:lstStyle/>
          <a:p>
            <a:pPr marL="0" lvl="0" indent="0" algn="l" defTabSz="533400">
              <a:lnSpc>
                <a:spcPct val="90000"/>
              </a:lnSpc>
              <a:spcBef>
                <a:spcPts val="600"/>
              </a:spcBef>
              <a:buClr>
                <a:srgbClr val="FFE600"/>
              </a:buClr>
              <a:buFontTx/>
              <a:buNone/>
            </a:pPr>
            <a:r>
              <a:rPr lang="ro-RO" sz="3600" b="1" spc="100" dirty="0">
                <a:solidFill>
                  <a:srgbClr val="FFE600"/>
                </a:solidFill>
              </a:rPr>
              <a:t>Activități</a:t>
            </a:r>
          </a:p>
        </p:txBody>
      </p:sp>
      <p:sp>
        <p:nvSpPr>
          <p:cNvPr id="10" name="CasetăText 8">
            <a:extLst>
              <a:ext uri="{FF2B5EF4-FFF2-40B4-BE49-F238E27FC236}">
                <a16:creationId xmlns:a16="http://schemas.microsoft.com/office/drawing/2014/main" id="{EB08191F-77E2-4934-8D74-29CB6E35E66D}"/>
              </a:ext>
            </a:extLst>
          </p:cNvPr>
          <p:cNvSpPr txBox="1"/>
          <p:nvPr/>
        </p:nvSpPr>
        <p:spPr>
          <a:xfrm>
            <a:off x="2695292" y="2130186"/>
            <a:ext cx="8229600" cy="4875181"/>
          </a:xfrm>
          <a:prstGeom prst="rect">
            <a:avLst/>
          </a:prstGeom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t" anchorCtr="0">
            <a:spAutoFit/>
          </a:bodyPr>
          <a:lstStyle>
            <a:defPPr>
              <a:defRPr lang="en-US"/>
            </a:defPPr>
            <a:lvl1pPr marL="285750" lvl="0" indent="-285750" defTabSz="533400">
              <a:lnSpc>
                <a:spcPct val="90000"/>
              </a:lnSpc>
              <a:spcBef>
                <a:spcPts val="1800"/>
              </a:spcBef>
              <a:buClr>
                <a:srgbClr val="FFE600"/>
              </a:buClr>
              <a:buFont typeface="Wingdings" panose="05000000000000000000" pitchFamily="2" charset="2"/>
              <a:buChar char="ü"/>
              <a:defRPr>
                <a:solidFill>
                  <a:schemeClr val="bg1"/>
                </a:solidFill>
              </a:defRPr>
            </a:lvl1pPr>
          </a:lstStyle>
          <a:p>
            <a:r>
              <a:rPr lang="ro-RO" dirty="0"/>
              <a:t>Elaborarea documentației necesare pentru implementarea CAF</a:t>
            </a:r>
          </a:p>
          <a:p>
            <a:r>
              <a:rPr lang="ro-RO" dirty="0"/>
              <a:t>Analizarea strategiilor existente la nivelul celor două instituții, precum și a responsabilităților ce decurg din monitorizarea acestora și dezvoltarea BSC </a:t>
            </a:r>
          </a:p>
          <a:p>
            <a:r>
              <a:rPr lang="en-US" dirty="0"/>
              <a:t>I</a:t>
            </a:r>
            <a:r>
              <a:rPr lang="ro-RO" dirty="0" err="1"/>
              <a:t>nstruirea</a:t>
            </a:r>
            <a:r>
              <a:rPr lang="ro-RO" dirty="0"/>
              <a:t> angajaților din cadrul celor două instituții p</a:t>
            </a:r>
            <a:r>
              <a:rPr lang="en-US" dirty="0" err="1"/>
              <a:t>entru</a:t>
            </a:r>
            <a:r>
              <a:rPr lang="ro-RO" dirty="0"/>
              <a:t> utilizarea instrumentelor CAF și BSC </a:t>
            </a:r>
          </a:p>
          <a:p>
            <a:r>
              <a:rPr lang="en-US" dirty="0"/>
              <a:t>E</a:t>
            </a:r>
            <a:r>
              <a:rPr lang="ro-RO" dirty="0" err="1"/>
              <a:t>venimente</a:t>
            </a:r>
            <a:r>
              <a:rPr lang="ro-RO" dirty="0"/>
              <a:t> pentru promovarea instrumentelor CAF și BSC în rândul instituțiilor cu care ADR și DNSC colaborează privind exercitarea atribuțiilor specifice</a:t>
            </a:r>
          </a:p>
          <a:p>
            <a:r>
              <a:rPr lang="en-US" dirty="0"/>
              <a:t>C</a:t>
            </a:r>
            <a:r>
              <a:rPr lang="ro-RO" dirty="0" err="1"/>
              <a:t>onferințe</a:t>
            </a:r>
            <a:r>
              <a:rPr lang="ro-RO" dirty="0"/>
              <a:t> pentru diseminarea bunelor practici privind implementarea CAF și BSC în instituții publice din Austria și Portugalia</a:t>
            </a:r>
          </a:p>
          <a:p>
            <a:r>
              <a:rPr lang="ro-RO" dirty="0"/>
              <a:t>Realizarea analizei pentru dezvoltarea unei aplicații de monitorizare și evaluare a nivelului de digitalizare al evenimentelor de viață, implementată în cadrul ADR</a:t>
            </a:r>
          </a:p>
          <a:p>
            <a:endParaRPr lang="ro-RO" dirty="0"/>
          </a:p>
        </p:txBody>
      </p:sp>
      <p:grpSp>
        <p:nvGrpSpPr>
          <p:cNvPr id="27" name="Group 36">
            <a:extLst>
              <a:ext uri="{FF2B5EF4-FFF2-40B4-BE49-F238E27FC236}">
                <a16:creationId xmlns:a16="http://schemas.microsoft.com/office/drawing/2014/main" id="{72536B88-8706-4094-8ECC-DD498A8B6E3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577644" y="1198461"/>
            <a:ext cx="1009650" cy="1301750"/>
            <a:chOff x="4524" y="833"/>
            <a:chExt cx="636" cy="820"/>
          </a:xfrm>
          <a:solidFill>
            <a:schemeClr val="tx2"/>
          </a:solidFill>
        </p:grpSpPr>
        <p:sp>
          <p:nvSpPr>
            <p:cNvPr id="28" name="Freeform 37">
              <a:extLst>
                <a:ext uri="{FF2B5EF4-FFF2-40B4-BE49-F238E27FC236}">
                  <a16:creationId xmlns:a16="http://schemas.microsoft.com/office/drawing/2014/main" id="{72ACB96E-5379-47FA-A59C-4781E97919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4" y="833"/>
              <a:ext cx="336" cy="136"/>
            </a:xfrm>
            <a:custGeom>
              <a:avLst/>
              <a:gdLst>
                <a:gd name="T0" fmla="*/ 336 w 336"/>
                <a:gd name="T1" fmla="*/ 136 h 136"/>
                <a:gd name="T2" fmla="*/ 0 w 336"/>
                <a:gd name="T3" fmla="*/ 136 h 136"/>
                <a:gd name="T4" fmla="*/ 0 w 336"/>
                <a:gd name="T5" fmla="*/ 0 h 136"/>
                <a:gd name="T6" fmla="*/ 336 w 336"/>
                <a:gd name="T7" fmla="*/ 0 h 136"/>
                <a:gd name="T8" fmla="*/ 336 w 336"/>
                <a:gd name="T9" fmla="*/ 136 h 136"/>
                <a:gd name="T10" fmla="*/ 18 w 336"/>
                <a:gd name="T11" fmla="*/ 118 h 136"/>
                <a:gd name="T12" fmla="*/ 318 w 336"/>
                <a:gd name="T13" fmla="*/ 118 h 136"/>
                <a:gd name="T14" fmla="*/ 318 w 336"/>
                <a:gd name="T15" fmla="*/ 18 h 136"/>
                <a:gd name="T16" fmla="*/ 18 w 336"/>
                <a:gd name="T17" fmla="*/ 18 h 136"/>
                <a:gd name="T18" fmla="*/ 18 w 336"/>
                <a:gd name="T19" fmla="*/ 11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6" h="136">
                  <a:moveTo>
                    <a:pt x="336" y="136"/>
                  </a:moveTo>
                  <a:lnTo>
                    <a:pt x="0" y="136"/>
                  </a:lnTo>
                  <a:lnTo>
                    <a:pt x="0" y="0"/>
                  </a:lnTo>
                  <a:lnTo>
                    <a:pt x="336" y="0"/>
                  </a:lnTo>
                  <a:lnTo>
                    <a:pt x="336" y="136"/>
                  </a:lnTo>
                  <a:close/>
                  <a:moveTo>
                    <a:pt x="18" y="118"/>
                  </a:moveTo>
                  <a:lnTo>
                    <a:pt x="318" y="118"/>
                  </a:lnTo>
                  <a:lnTo>
                    <a:pt x="318" y="18"/>
                  </a:lnTo>
                  <a:lnTo>
                    <a:pt x="18" y="18"/>
                  </a:lnTo>
                  <a:lnTo>
                    <a:pt x="18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38">
              <a:extLst>
                <a:ext uri="{FF2B5EF4-FFF2-40B4-BE49-F238E27FC236}">
                  <a16:creationId xmlns:a16="http://schemas.microsoft.com/office/drawing/2014/main" id="{AFDB5409-1394-4785-B4D8-158745E0F87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24" y="891"/>
              <a:ext cx="636" cy="762"/>
            </a:xfrm>
            <a:custGeom>
              <a:avLst/>
              <a:gdLst>
                <a:gd name="T0" fmla="*/ 636 w 636"/>
                <a:gd name="T1" fmla="*/ 762 h 762"/>
                <a:gd name="T2" fmla="*/ 0 w 636"/>
                <a:gd name="T3" fmla="*/ 762 h 762"/>
                <a:gd name="T4" fmla="*/ 0 w 636"/>
                <a:gd name="T5" fmla="*/ 0 h 762"/>
                <a:gd name="T6" fmla="*/ 158 w 636"/>
                <a:gd name="T7" fmla="*/ 0 h 762"/>
                <a:gd name="T8" fmla="*/ 158 w 636"/>
                <a:gd name="T9" fmla="*/ 18 h 762"/>
                <a:gd name="T10" fmla="*/ 18 w 636"/>
                <a:gd name="T11" fmla="*/ 18 h 762"/>
                <a:gd name="T12" fmla="*/ 18 w 636"/>
                <a:gd name="T13" fmla="*/ 744 h 762"/>
                <a:gd name="T14" fmla="*/ 618 w 636"/>
                <a:gd name="T15" fmla="*/ 744 h 762"/>
                <a:gd name="T16" fmla="*/ 618 w 636"/>
                <a:gd name="T17" fmla="*/ 18 h 762"/>
                <a:gd name="T18" fmla="*/ 478 w 636"/>
                <a:gd name="T19" fmla="*/ 18 h 762"/>
                <a:gd name="T20" fmla="*/ 478 w 636"/>
                <a:gd name="T21" fmla="*/ 0 h 762"/>
                <a:gd name="T22" fmla="*/ 636 w 636"/>
                <a:gd name="T23" fmla="*/ 0 h 762"/>
                <a:gd name="T24" fmla="*/ 636 w 636"/>
                <a:gd name="T25" fmla="*/ 762 h 7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6" h="762">
                  <a:moveTo>
                    <a:pt x="636" y="762"/>
                  </a:moveTo>
                  <a:lnTo>
                    <a:pt x="0" y="762"/>
                  </a:lnTo>
                  <a:lnTo>
                    <a:pt x="0" y="0"/>
                  </a:lnTo>
                  <a:lnTo>
                    <a:pt x="158" y="0"/>
                  </a:lnTo>
                  <a:lnTo>
                    <a:pt x="158" y="18"/>
                  </a:lnTo>
                  <a:lnTo>
                    <a:pt x="18" y="18"/>
                  </a:lnTo>
                  <a:lnTo>
                    <a:pt x="18" y="744"/>
                  </a:lnTo>
                  <a:lnTo>
                    <a:pt x="618" y="744"/>
                  </a:lnTo>
                  <a:lnTo>
                    <a:pt x="618" y="18"/>
                  </a:lnTo>
                  <a:lnTo>
                    <a:pt x="478" y="18"/>
                  </a:lnTo>
                  <a:lnTo>
                    <a:pt x="478" y="0"/>
                  </a:lnTo>
                  <a:lnTo>
                    <a:pt x="636" y="0"/>
                  </a:lnTo>
                  <a:lnTo>
                    <a:pt x="636" y="7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Rectangle 39">
              <a:extLst>
                <a:ext uri="{FF2B5EF4-FFF2-40B4-BE49-F238E27FC236}">
                  <a16:creationId xmlns:a16="http://schemas.microsoft.com/office/drawing/2014/main" id="{191B8808-68F6-4974-8165-CF5D6F18CC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66" y="891"/>
              <a:ext cx="150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40">
              <a:extLst>
                <a:ext uri="{FF2B5EF4-FFF2-40B4-BE49-F238E27FC236}">
                  <a16:creationId xmlns:a16="http://schemas.microsoft.com/office/drawing/2014/main" id="{FA8E55D5-DA33-4FC4-A505-3D5BD3A33C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50" y="1101"/>
              <a:ext cx="98" cy="98"/>
            </a:xfrm>
            <a:custGeom>
              <a:avLst/>
              <a:gdLst>
                <a:gd name="T0" fmla="*/ 50 w 98"/>
                <a:gd name="T1" fmla="*/ 98 h 98"/>
                <a:gd name="T2" fmla="*/ 30 w 98"/>
                <a:gd name="T3" fmla="*/ 94 h 98"/>
                <a:gd name="T4" fmla="*/ 14 w 98"/>
                <a:gd name="T5" fmla="*/ 84 h 98"/>
                <a:gd name="T6" fmla="*/ 4 w 98"/>
                <a:gd name="T7" fmla="*/ 68 h 98"/>
                <a:gd name="T8" fmla="*/ 0 w 98"/>
                <a:gd name="T9" fmla="*/ 50 h 98"/>
                <a:gd name="T10" fmla="*/ 2 w 98"/>
                <a:gd name="T11" fmla="*/ 40 h 98"/>
                <a:gd name="T12" fmla="*/ 8 w 98"/>
                <a:gd name="T13" fmla="*/ 22 h 98"/>
                <a:gd name="T14" fmla="*/ 22 w 98"/>
                <a:gd name="T15" fmla="*/ 8 h 98"/>
                <a:gd name="T16" fmla="*/ 40 w 98"/>
                <a:gd name="T17" fmla="*/ 2 h 98"/>
                <a:gd name="T18" fmla="*/ 50 w 98"/>
                <a:gd name="T19" fmla="*/ 0 h 98"/>
                <a:gd name="T20" fmla="*/ 68 w 98"/>
                <a:gd name="T21" fmla="*/ 4 h 98"/>
                <a:gd name="T22" fmla="*/ 84 w 98"/>
                <a:gd name="T23" fmla="*/ 14 h 98"/>
                <a:gd name="T24" fmla="*/ 94 w 98"/>
                <a:gd name="T25" fmla="*/ 30 h 98"/>
                <a:gd name="T26" fmla="*/ 98 w 98"/>
                <a:gd name="T27" fmla="*/ 50 h 98"/>
                <a:gd name="T28" fmla="*/ 96 w 98"/>
                <a:gd name="T29" fmla="*/ 60 h 98"/>
                <a:gd name="T30" fmla="*/ 90 w 98"/>
                <a:gd name="T31" fmla="*/ 76 h 98"/>
                <a:gd name="T32" fmla="*/ 76 w 98"/>
                <a:gd name="T33" fmla="*/ 90 h 98"/>
                <a:gd name="T34" fmla="*/ 60 w 98"/>
                <a:gd name="T35" fmla="*/ 96 h 98"/>
                <a:gd name="T36" fmla="*/ 50 w 98"/>
                <a:gd name="T37" fmla="*/ 98 h 98"/>
                <a:gd name="T38" fmla="*/ 50 w 98"/>
                <a:gd name="T39" fmla="*/ 18 h 98"/>
                <a:gd name="T40" fmla="*/ 38 w 98"/>
                <a:gd name="T41" fmla="*/ 20 h 98"/>
                <a:gd name="T42" fmla="*/ 20 w 98"/>
                <a:gd name="T43" fmla="*/ 38 h 98"/>
                <a:gd name="T44" fmla="*/ 18 w 98"/>
                <a:gd name="T45" fmla="*/ 50 h 98"/>
                <a:gd name="T46" fmla="*/ 20 w 98"/>
                <a:gd name="T47" fmla="*/ 56 h 98"/>
                <a:gd name="T48" fmla="*/ 28 w 98"/>
                <a:gd name="T49" fmla="*/ 70 h 98"/>
                <a:gd name="T50" fmla="*/ 44 w 98"/>
                <a:gd name="T51" fmla="*/ 80 h 98"/>
                <a:gd name="T52" fmla="*/ 50 w 98"/>
                <a:gd name="T53" fmla="*/ 80 h 98"/>
                <a:gd name="T54" fmla="*/ 62 w 98"/>
                <a:gd name="T55" fmla="*/ 78 h 98"/>
                <a:gd name="T56" fmla="*/ 78 w 98"/>
                <a:gd name="T57" fmla="*/ 62 h 98"/>
                <a:gd name="T58" fmla="*/ 80 w 98"/>
                <a:gd name="T59" fmla="*/ 50 h 98"/>
                <a:gd name="T60" fmla="*/ 80 w 98"/>
                <a:gd name="T61" fmla="*/ 44 h 98"/>
                <a:gd name="T62" fmla="*/ 70 w 98"/>
                <a:gd name="T63" fmla="*/ 28 h 98"/>
                <a:gd name="T64" fmla="*/ 56 w 98"/>
                <a:gd name="T65" fmla="*/ 20 h 98"/>
                <a:gd name="T66" fmla="*/ 50 w 98"/>
                <a:gd name="T67" fmla="*/ 1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8" h="98">
                  <a:moveTo>
                    <a:pt x="50" y="98"/>
                  </a:moveTo>
                  <a:lnTo>
                    <a:pt x="50" y="98"/>
                  </a:lnTo>
                  <a:lnTo>
                    <a:pt x="40" y="96"/>
                  </a:lnTo>
                  <a:lnTo>
                    <a:pt x="30" y="94"/>
                  </a:lnTo>
                  <a:lnTo>
                    <a:pt x="22" y="90"/>
                  </a:lnTo>
                  <a:lnTo>
                    <a:pt x="14" y="84"/>
                  </a:lnTo>
                  <a:lnTo>
                    <a:pt x="8" y="76"/>
                  </a:lnTo>
                  <a:lnTo>
                    <a:pt x="4" y="68"/>
                  </a:lnTo>
                  <a:lnTo>
                    <a:pt x="2" y="6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2" y="40"/>
                  </a:lnTo>
                  <a:lnTo>
                    <a:pt x="4" y="30"/>
                  </a:lnTo>
                  <a:lnTo>
                    <a:pt x="8" y="22"/>
                  </a:lnTo>
                  <a:lnTo>
                    <a:pt x="14" y="14"/>
                  </a:lnTo>
                  <a:lnTo>
                    <a:pt x="22" y="8"/>
                  </a:lnTo>
                  <a:lnTo>
                    <a:pt x="30" y="4"/>
                  </a:lnTo>
                  <a:lnTo>
                    <a:pt x="40" y="2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60" y="2"/>
                  </a:lnTo>
                  <a:lnTo>
                    <a:pt x="68" y="4"/>
                  </a:lnTo>
                  <a:lnTo>
                    <a:pt x="76" y="8"/>
                  </a:lnTo>
                  <a:lnTo>
                    <a:pt x="84" y="14"/>
                  </a:lnTo>
                  <a:lnTo>
                    <a:pt x="90" y="22"/>
                  </a:lnTo>
                  <a:lnTo>
                    <a:pt x="94" y="30"/>
                  </a:lnTo>
                  <a:lnTo>
                    <a:pt x="96" y="40"/>
                  </a:lnTo>
                  <a:lnTo>
                    <a:pt x="98" y="50"/>
                  </a:lnTo>
                  <a:lnTo>
                    <a:pt x="98" y="50"/>
                  </a:lnTo>
                  <a:lnTo>
                    <a:pt x="96" y="60"/>
                  </a:lnTo>
                  <a:lnTo>
                    <a:pt x="94" y="68"/>
                  </a:lnTo>
                  <a:lnTo>
                    <a:pt x="90" y="76"/>
                  </a:lnTo>
                  <a:lnTo>
                    <a:pt x="84" y="84"/>
                  </a:lnTo>
                  <a:lnTo>
                    <a:pt x="76" y="90"/>
                  </a:lnTo>
                  <a:lnTo>
                    <a:pt x="68" y="94"/>
                  </a:lnTo>
                  <a:lnTo>
                    <a:pt x="60" y="96"/>
                  </a:lnTo>
                  <a:lnTo>
                    <a:pt x="50" y="98"/>
                  </a:lnTo>
                  <a:lnTo>
                    <a:pt x="50" y="98"/>
                  </a:lnTo>
                  <a:close/>
                  <a:moveTo>
                    <a:pt x="50" y="18"/>
                  </a:moveTo>
                  <a:lnTo>
                    <a:pt x="50" y="18"/>
                  </a:lnTo>
                  <a:lnTo>
                    <a:pt x="44" y="20"/>
                  </a:lnTo>
                  <a:lnTo>
                    <a:pt x="38" y="20"/>
                  </a:lnTo>
                  <a:lnTo>
                    <a:pt x="28" y="28"/>
                  </a:lnTo>
                  <a:lnTo>
                    <a:pt x="20" y="38"/>
                  </a:lnTo>
                  <a:lnTo>
                    <a:pt x="20" y="44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20" y="56"/>
                  </a:lnTo>
                  <a:lnTo>
                    <a:pt x="20" y="62"/>
                  </a:lnTo>
                  <a:lnTo>
                    <a:pt x="28" y="70"/>
                  </a:lnTo>
                  <a:lnTo>
                    <a:pt x="38" y="78"/>
                  </a:lnTo>
                  <a:lnTo>
                    <a:pt x="44" y="80"/>
                  </a:lnTo>
                  <a:lnTo>
                    <a:pt x="50" y="80"/>
                  </a:lnTo>
                  <a:lnTo>
                    <a:pt x="50" y="80"/>
                  </a:lnTo>
                  <a:lnTo>
                    <a:pt x="56" y="80"/>
                  </a:lnTo>
                  <a:lnTo>
                    <a:pt x="62" y="78"/>
                  </a:lnTo>
                  <a:lnTo>
                    <a:pt x="70" y="70"/>
                  </a:lnTo>
                  <a:lnTo>
                    <a:pt x="78" y="62"/>
                  </a:lnTo>
                  <a:lnTo>
                    <a:pt x="80" y="56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0" y="44"/>
                  </a:lnTo>
                  <a:lnTo>
                    <a:pt x="78" y="38"/>
                  </a:lnTo>
                  <a:lnTo>
                    <a:pt x="70" y="28"/>
                  </a:lnTo>
                  <a:lnTo>
                    <a:pt x="62" y="20"/>
                  </a:lnTo>
                  <a:lnTo>
                    <a:pt x="56" y="20"/>
                  </a:lnTo>
                  <a:lnTo>
                    <a:pt x="50" y="18"/>
                  </a:lnTo>
                  <a:lnTo>
                    <a:pt x="50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41">
              <a:extLst>
                <a:ext uri="{FF2B5EF4-FFF2-40B4-BE49-F238E27FC236}">
                  <a16:creationId xmlns:a16="http://schemas.microsoft.com/office/drawing/2014/main" id="{57DFE0D4-313E-46BB-AF23-5F30F1A3C2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18" y="1383"/>
              <a:ext cx="98" cy="98"/>
            </a:xfrm>
            <a:custGeom>
              <a:avLst/>
              <a:gdLst>
                <a:gd name="T0" fmla="*/ 48 w 98"/>
                <a:gd name="T1" fmla="*/ 98 h 98"/>
                <a:gd name="T2" fmla="*/ 30 w 98"/>
                <a:gd name="T3" fmla="*/ 94 h 98"/>
                <a:gd name="T4" fmla="*/ 14 w 98"/>
                <a:gd name="T5" fmla="*/ 84 h 98"/>
                <a:gd name="T6" fmla="*/ 4 w 98"/>
                <a:gd name="T7" fmla="*/ 68 h 98"/>
                <a:gd name="T8" fmla="*/ 0 w 98"/>
                <a:gd name="T9" fmla="*/ 50 h 98"/>
                <a:gd name="T10" fmla="*/ 0 w 98"/>
                <a:gd name="T11" fmla="*/ 40 h 98"/>
                <a:gd name="T12" fmla="*/ 8 w 98"/>
                <a:gd name="T13" fmla="*/ 22 h 98"/>
                <a:gd name="T14" fmla="*/ 22 w 98"/>
                <a:gd name="T15" fmla="*/ 10 h 98"/>
                <a:gd name="T16" fmla="*/ 38 w 98"/>
                <a:gd name="T17" fmla="*/ 2 h 98"/>
                <a:gd name="T18" fmla="*/ 48 w 98"/>
                <a:gd name="T19" fmla="*/ 0 h 98"/>
                <a:gd name="T20" fmla="*/ 68 w 98"/>
                <a:gd name="T21" fmla="*/ 4 h 98"/>
                <a:gd name="T22" fmla="*/ 82 w 98"/>
                <a:gd name="T23" fmla="*/ 14 h 98"/>
                <a:gd name="T24" fmla="*/ 94 w 98"/>
                <a:gd name="T25" fmla="*/ 30 h 98"/>
                <a:gd name="T26" fmla="*/ 98 w 98"/>
                <a:gd name="T27" fmla="*/ 50 h 98"/>
                <a:gd name="T28" fmla="*/ 96 w 98"/>
                <a:gd name="T29" fmla="*/ 60 h 98"/>
                <a:gd name="T30" fmla="*/ 88 w 98"/>
                <a:gd name="T31" fmla="*/ 76 h 98"/>
                <a:gd name="T32" fmla="*/ 76 w 98"/>
                <a:gd name="T33" fmla="*/ 90 h 98"/>
                <a:gd name="T34" fmla="*/ 58 w 98"/>
                <a:gd name="T35" fmla="*/ 98 h 98"/>
                <a:gd name="T36" fmla="*/ 48 w 98"/>
                <a:gd name="T37" fmla="*/ 98 h 98"/>
                <a:gd name="T38" fmla="*/ 48 w 98"/>
                <a:gd name="T39" fmla="*/ 18 h 98"/>
                <a:gd name="T40" fmla="*/ 36 w 98"/>
                <a:gd name="T41" fmla="*/ 22 h 98"/>
                <a:gd name="T42" fmla="*/ 20 w 98"/>
                <a:gd name="T43" fmla="*/ 38 h 98"/>
                <a:gd name="T44" fmla="*/ 18 w 98"/>
                <a:gd name="T45" fmla="*/ 50 h 98"/>
                <a:gd name="T46" fmla="*/ 18 w 98"/>
                <a:gd name="T47" fmla="*/ 56 h 98"/>
                <a:gd name="T48" fmla="*/ 26 w 98"/>
                <a:gd name="T49" fmla="*/ 72 h 98"/>
                <a:gd name="T50" fmla="*/ 42 w 98"/>
                <a:gd name="T51" fmla="*/ 80 h 98"/>
                <a:gd name="T52" fmla="*/ 48 w 98"/>
                <a:gd name="T53" fmla="*/ 80 h 98"/>
                <a:gd name="T54" fmla="*/ 60 w 98"/>
                <a:gd name="T55" fmla="*/ 78 h 98"/>
                <a:gd name="T56" fmla="*/ 76 w 98"/>
                <a:gd name="T57" fmla="*/ 62 h 98"/>
                <a:gd name="T58" fmla="*/ 80 w 98"/>
                <a:gd name="T59" fmla="*/ 50 h 98"/>
                <a:gd name="T60" fmla="*/ 78 w 98"/>
                <a:gd name="T61" fmla="*/ 44 h 98"/>
                <a:gd name="T62" fmla="*/ 70 w 98"/>
                <a:gd name="T63" fmla="*/ 28 h 98"/>
                <a:gd name="T64" fmla="*/ 54 w 98"/>
                <a:gd name="T65" fmla="*/ 20 h 98"/>
                <a:gd name="T66" fmla="*/ 48 w 98"/>
                <a:gd name="T67" fmla="*/ 1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8" h="98">
                  <a:moveTo>
                    <a:pt x="48" y="98"/>
                  </a:moveTo>
                  <a:lnTo>
                    <a:pt x="48" y="98"/>
                  </a:lnTo>
                  <a:lnTo>
                    <a:pt x="38" y="98"/>
                  </a:lnTo>
                  <a:lnTo>
                    <a:pt x="30" y="94"/>
                  </a:lnTo>
                  <a:lnTo>
                    <a:pt x="22" y="90"/>
                  </a:lnTo>
                  <a:lnTo>
                    <a:pt x="14" y="84"/>
                  </a:lnTo>
                  <a:lnTo>
                    <a:pt x="8" y="76"/>
                  </a:lnTo>
                  <a:lnTo>
                    <a:pt x="4" y="68"/>
                  </a:lnTo>
                  <a:lnTo>
                    <a:pt x="0" y="6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40"/>
                  </a:lnTo>
                  <a:lnTo>
                    <a:pt x="4" y="30"/>
                  </a:lnTo>
                  <a:lnTo>
                    <a:pt x="8" y="22"/>
                  </a:lnTo>
                  <a:lnTo>
                    <a:pt x="14" y="14"/>
                  </a:lnTo>
                  <a:lnTo>
                    <a:pt x="22" y="10"/>
                  </a:lnTo>
                  <a:lnTo>
                    <a:pt x="30" y="4"/>
                  </a:lnTo>
                  <a:lnTo>
                    <a:pt x="38" y="2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8" y="2"/>
                  </a:lnTo>
                  <a:lnTo>
                    <a:pt x="68" y="4"/>
                  </a:lnTo>
                  <a:lnTo>
                    <a:pt x="76" y="10"/>
                  </a:lnTo>
                  <a:lnTo>
                    <a:pt x="82" y="14"/>
                  </a:lnTo>
                  <a:lnTo>
                    <a:pt x="88" y="22"/>
                  </a:lnTo>
                  <a:lnTo>
                    <a:pt x="94" y="30"/>
                  </a:lnTo>
                  <a:lnTo>
                    <a:pt x="96" y="40"/>
                  </a:lnTo>
                  <a:lnTo>
                    <a:pt x="98" y="50"/>
                  </a:lnTo>
                  <a:lnTo>
                    <a:pt x="98" y="50"/>
                  </a:lnTo>
                  <a:lnTo>
                    <a:pt x="96" y="60"/>
                  </a:lnTo>
                  <a:lnTo>
                    <a:pt x="94" y="68"/>
                  </a:lnTo>
                  <a:lnTo>
                    <a:pt x="88" y="76"/>
                  </a:lnTo>
                  <a:lnTo>
                    <a:pt x="82" y="84"/>
                  </a:lnTo>
                  <a:lnTo>
                    <a:pt x="76" y="90"/>
                  </a:lnTo>
                  <a:lnTo>
                    <a:pt x="68" y="94"/>
                  </a:lnTo>
                  <a:lnTo>
                    <a:pt x="58" y="98"/>
                  </a:lnTo>
                  <a:lnTo>
                    <a:pt x="48" y="98"/>
                  </a:lnTo>
                  <a:lnTo>
                    <a:pt x="48" y="98"/>
                  </a:lnTo>
                  <a:close/>
                  <a:moveTo>
                    <a:pt x="48" y="18"/>
                  </a:moveTo>
                  <a:lnTo>
                    <a:pt x="48" y="18"/>
                  </a:lnTo>
                  <a:lnTo>
                    <a:pt x="42" y="20"/>
                  </a:lnTo>
                  <a:lnTo>
                    <a:pt x="36" y="22"/>
                  </a:lnTo>
                  <a:lnTo>
                    <a:pt x="26" y="28"/>
                  </a:lnTo>
                  <a:lnTo>
                    <a:pt x="20" y="38"/>
                  </a:lnTo>
                  <a:lnTo>
                    <a:pt x="18" y="44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6"/>
                  </a:lnTo>
                  <a:lnTo>
                    <a:pt x="20" y="62"/>
                  </a:lnTo>
                  <a:lnTo>
                    <a:pt x="26" y="72"/>
                  </a:lnTo>
                  <a:lnTo>
                    <a:pt x="36" y="78"/>
                  </a:lnTo>
                  <a:lnTo>
                    <a:pt x="42" y="80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54" y="80"/>
                  </a:lnTo>
                  <a:lnTo>
                    <a:pt x="60" y="78"/>
                  </a:lnTo>
                  <a:lnTo>
                    <a:pt x="70" y="72"/>
                  </a:lnTo>
                  <a:lnTo>
                    <a:pt x="76" y="62"/>
                  </a:lnTo>
                  <a:lnTo>
                    <a:pt x="78" y="56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78" y="44"/>
                  </a:lnTo>
                  <a:lnTo>
                    <a:pt x="76" y="38"/>
                  </a:lnTo>
                  <a:lnTo>
                    <a:pt x="70" y="28"/>
                  </a:lnTo>
                  <a:lnTo>
                    <a:pt x="60" y="22"/>
                  </a:lnTo>
                  <a:lnTo>
                    <a:pt x="54" y="20"/>
                  </a:lnTo>
                  <a:lnTo>
                    <a:pt x="48" y="18"/>
                  </a:lnTo>
                  <a:lnTo>
                    <a:pt x="48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42">
              <a:extLst>
                <a:ext uri="{FF2B5EF4-FFF2-40B4-BE49-F238E27FC236}">
                  <a16:creationId xmlns:a16="http://schemas.microsoft.com/office/drawing/2014/main" id="{EE5AC3B4-E60E-49C3-98E5-C8064091EC7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4" y="1351"/>
              <a:ext cx="86" cy="86"/>
            </a:xfrm>
            <a:custGeom>
              <a:avLst/>
              <a:gdLst>
                <a:gd name="T0" fmla="*/ 74 w 86"/>
                <a:gd name="T1" fmla="*/ 86 h 86"/>
                <a:gd name="T2" fmla="*/ 0 w 86"/>
                <a:gd name="T3" fmla="*/ 12 h 86"/>
                <a:gd name="T4" fmla="*/ 12 w 86"/>
                <a:gd name="T5" fmla="*/ 0 h 86"/>
                <a:gd name="T6" fmla="*/ 86 w 86"/>
                <a:gd name="T7" fmla="*/ 74 h 86"/>
                <a:gd name="T8" fmla="*/ 74 w 86"/>
                <a:gd name="T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86">
                  <a:moveTo>
                    <a:pt x="74" y="86"/>
                  </a:moveTo>
                  <a:lnTo>
                    <a:pt x="0" y="12"/>
                  </a:lnTo>
                  <a:lnTo>
                    <a:pt x="12" y="0"/>
                  </a:lnTo>
                  <a:lnTo>
                    <a:pt x="86" y="74"/>
                  </a:lnTo>
                  <a:lnTo>
                    <a:pt x="74" y="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43">
              <a:extLst>
                <a:ext uri="{FF2B5EF4-FFF2-40B4-BE49-F238E27FC236}">
                  <a16:creationId xmlns:a16="http://schemas.microsoft.com/office/drawing/2014/main" id="{43786C30-ABBD-480B-B51F-6D86D469D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44" y="1351"/>
              <a:ext cx="86" cy="86"/>
            </a:xfrm>
            <a:custGeom>
              <a:avLst/>
              <a:gdLst>
                <a:gd name="T0" fmla="*/ 12 w 86"/>
                <a:gd name="T1" fmla="*/ 86 h 86"/>
                <a:gd name="T2" fmla="*/ 0 w 86"/>
                <a:gd name="T3" fmla="*/ 74 h 86"/>
                <a:gd name="T4" fmla="*/ 74 w 86"/>
                <a:gd name="T5" fmla="*/ 0 h 86"/>
                <a:gd name="T6" fmla="*/ 86 w 86"/>
                <a:gd name="T7" fmla="*/ 12 h 86"/>
                <a:gd name="T8" fmla="*/ 12 w 86"/>
                <a:gd name="T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6" h="86">
                  <a:moveTo>
                    <a:pt x="12" y="86"/>
                  </a:moveTo>
                  <a:lnTo>
                    <a:pt x="0" y="74"/>
                  </a:lnTo>
                  <a:lnTo>
                    <a:pt x="74" y="0"/>
                  </a:lnTo>
                  <a:lnTo>
                    <a:pt x="86" y="12"/>
                  </a:lnTo>
                  <a:lnTo>
                    <a:pt x="12" y="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44">
              <a:extLst>
                <a:ext uri="{FF2B5EF4-FFF2-40B4-BE49-F238E27FC236}">
                  <a16:creationId xmlns:a16="http://schemas.microsoft.com/office/drawing/2014/main" id="{EC00FB83-845A-4C77-9DEA-D3393F3B1C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58" y="1103"/>
              <a:ext cx="178" cy="290"/>
            </a:xfrm>
            <a:custGeom>
              <a:avLst/>
              <a:gdLst>
                <a:gd name="T0" fmla="*/ 18 w 178"/>
                <a:gd name="T1" fmla="*/ 290 h 290"/>
                <a:gd name="T2" fmla="*/ 0 w 178"/>
                <a:gd name="T3" fmla="*/ 290 h 290"/>
                <a:gd name="T4" fmla="*/ 0 w 178"/>
                <a:gd name="T5" fmla="*/ 140 h 290"/>
                <a:gd name="T6" fmla="*/ 160 w 178"/>
                <a:gd name="T7" fmla="*/ 140 h 290"/>
                <a:gd name="T8" fmla="*/ 160 w 178"/>
                <a:gd name="T9" fmla="*/ 0 h 290"/>
                <a:gd name="T10" fmla="*/ 178 w 178"/>
                <a:gd name="T11" fmla="*/ 0 h 290"/>
                <a:gd name="T12" fmla="*/ 178 w 178"/>
                <a:gd name="T13" fmla="*/ 158 h 290"/>
                <a:gd name="T14" fmla="*/ 18 w 178"/>
                <a:gd name="T15" fmla="*/ 158 h 290"/>
                <a:gd name="T16" fmla="*/ 18 w 178"/>
                <a:gd name="T17" fmla="*/ 290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8" h="290">
                  <a:moveTo>
                    <a:pt x="18" y="290"/>
                  </a:moveTo>
                  <a:lnTo>
                    <a:pt x="0" y="290"/>
                  </a:lnTo>
                  <a:lnTo>
                    <a:pt x="0" y="140"/>
                  </a:lnTo>
                  <a:lnTo>
                    <a:pt x="160" y="140"/>
                  </a:lnTo>
                  <a:lnTo>
                    <a:pt x="160" y="0"/>
                  </a:lnTo>
                  <a:lnTo>
                    <a:pt x="178" y="0"/>
                  </a:lnTo>
                  <a:lnTo>
                    <a:pt x="178" y="158"/>
                  </a:lnTo>
                  <a:lnTo>
                    <a:pt x="18" y="158"/>
                  </a:lnTo>
                  <a:lnTo>
                    <a:pt x="18" y="2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45">
              <a:extLst>
                <a:ext uri="{FF2B5EF4-FFF2-40B4-BE49-F238E27FC236}">
                  <a16:creationId xmlns:a16="http://schemas.microsoft.com/office/drawing/2014/main" id="{F53E3029-49F9-4438-98A0-6F62F64F7A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4" y="1079"/>
              <a:ext cx="86" cy="56"/>
            </a:xfrm>
            <a:custGeom>
              <a:avLst/>
              <a:gdLst>
                <a:gd name="T0" fmla="*/ 12 w 86"/>
                <a:gd name="T1" fmla="*/ 56 h 56"/>
                <a:gd name="T2" fmla="*/ 0 w 86"/>
                <a:gd name="T3" fmla="*/ 44 h 56"/>
                <a:gd name="T4" fmla="*/ 42 w 86"/>
                <a:gd name="T5" fmla="*/ 0 h 56"/>
                <a:gd name="T6" fmla="*/ 86 w 86"/>
                <a:gd name="T7" fmla="*/ 44 h 56"/>
                <a:gd name="T8" fmla="*/ 74 w 86"/>
                <a:gd name="T9" fmla="*/ 56 h 56"/>
                <a:gd name="T10" fmla="*/ 42 w 86"/>
                <a:gd name="T11" fmla="*/ 26 h 56"/>
                <a:gd name="T12" fmla="*/ 12 w 86"/>
                <a:gd name="T13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56">
                  <a:moveTo>
                    <a:pt x="12" y="56"/>
                  </a:moveTo>
                  <a:lnTo>
                    <a:pt x="0" y="44"/>
                  </a:lnTo>
                  <a:lnTo>
                    <a:pt x="42" y="0"/>
                  </a:lnTo>
                  <a:lnTo>
                    <a:pt x="86" y="44"/>
                  </a:lnTo>
                  <a:lnTo>
                    <a:pt x="74" y="56"/>
                  </a:lnTo>
                  <a:lnTo>
                    <a:pt x="42" y="26"/>
                  </a:lnTo>
                  <a:lnTo>
                    <a:pt x="12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301817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0DBC599-5222-4E22-9DAA-BF75F546D0F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5092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0DBC599-5222-4E22-9DAA-BF75F546D0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u 1">
            <a:extLst>
              <a:ext uri="{FF2B5EF4-FFF2-40B4-BE49-F238E27FC236}">
                <a16:creationId xmlns:a16="http://schemas.microsoft.com/office/drawing/2014/main" id="{0A3E0A2C-3081-4559-99A2-125333E9B4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5294" y="294200"/>
            <a:ext cx="8892000" cy="590400"/>
          </a:xfrm>
        </p:spPr>
        <p:txBody>
          <a:bodyPr vert="horz"/>
          <a:lstStyle/>
          <a:p>
            <a:r>
              <a:rPr lang="ro-RO" dirty="0">
                <a:latin typeface="+mj-lt"/>
              </a:rPr>
              <a:t>Serviciile de consultanță livrate de către EY în cadrul SIMSIP</a:t>
            </a:r>
            <a:endParaRPr lang="en-US" dirty="0"/>
          </a:p>
        </p:txBody>
      </p:sp>
      <p:sp>
        <p:nvSpPr>
          <p:cNvPr id="5" name="Substituent număr diapozitiv 4">
            <a:extLst>
              <a:ext uri="{FF2B5EF4-FFF2-40B4-BE49-F238E27FC236}">
                <a16:creationId xmlns:a16="http://schemas.microsoft.com/office/drawing/2014/main" id="{7920C105-58A5-45EE-9D40-ED01203078D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GB" dirty="0"/>
              <a:t>Pag</a:t>
            </a:r>
            <a:r>
              <a:rPr lang="ro-RO" dirty="0"/>
              <a:t>ina</a:t>
            </a:r>
            <a:r>
              <a:rPr lang="en-GB" dirty="0"/>
              <a:t> </a:t>
            </a:r>
            <a:fld id="{F1BC30E3-FFE5-4B91-AA19-87A149EBB9EE}" type="slidenum">
              <a:rPr smtClean="0"/>
              <a:pPr/>
              <a:t>4</a:t>
            </a:fld>
            <a:endParaRPr dirty="0"/>
          </a:p>
        </p:txBody>
      </p:sp>
      <p:sp>
        <p:nvSpPr>
          <p:cNvPr id="25" name="CasetăText 8">
            <a:extLst>
              <a:ext uri="{FF2B5EF4-FFF2-40B4-BE49-F238E27FC236}">
                <a16:creationId xmlns:a16="http://schemas.microsoft.com/office/drawing/2014/main" id="{18A554D8-BDE1-4E40-A953-E82997AF98E1}"/>
              </a:ext>
            </a:extLst>
          </p:cNvPr>
          <p:cNvSpPr txBox="1"/>
          <p:nvPr/>
        </p:nvSpPr>
        <p:spPr>
          <a:xfrm>
            <a:off x="2695293" y="1312760"/>
            <a:ext cx="6172483" cy="498598"/>
          </a:xfrm>
          <a:prstGeom prst="rect">
            <a:avLst/>
          </a:prstGeom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t" anchorCtr="0">
            <a:spAutoFit/>
          </a:bodyPr>
          <a:lstStyle/>
          <a:p>
            <a:pPr marL="0" lvl="0" indent="0" algn="l" defTabSz="533400">
              <a:lnSpc>
                <a:spcPct val="90000"/>
              </a:lnSpc>
              <a:spcBef>
                <a:spcPts val="600"/>
              </a:spcBef>
              <a:buClr>
                <a:srgbClr val="FFE600"/>
              </a:buClr>
              <a:buFontTx/>
              <a:buNone/>
            </a:pPr>
            <a:r>
              <a:rPr lang="ro-RO" sz="3600" b="1" spc="100" dirty="0">
                <a:solidFill>
                  <a:srgbClr val="FFE600"/>
                </a:solidFill>
              </a:rPr>
              <a:t>Rezultate</a:t>
            </a:r>
          </a:p>
        </p:txBody>
      </p:sp>
      <p:sp>
        <p:nvSpPr>
          <p:cNvPr id="26" name="CasetăText 8">
            <a:extLst>
              <a:ext uri="{FF2B5EF4-FFF2-40B4-BE49-F238E27FC236}">
                <a16:creationId xmlns:a16="http://schemas.microsoft.com/office/drawing/2014/main" id="{646B46BB-0EC6-408A-ACD1-775F33FFAF6A}"/>
              </a:ext>
            </a:extLst>
          </p:cNvPr>
          <p:cNvSpPr txBox="1"/>
          <p:nvPr/>
        </p:nvSpPr>
        <p:spPr>
          <a:xfrm>
            <a:off x="2696394" y="2144654"/>
            <a:ext cx="8203110" cy="1458861"/>
          </a:xfrm>
          <a:prstGeom prst="rect">
            <a:avLst/>
          </a:prstGeom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t" anchorCtr="0">
            <a:spAutoFit/>
          </a:bodyPr>
          <a:lstStyle/>
          <a:p>
            <a:pPr marL="285750" lvl="0" indent="-285750" algn="l" defTabSz="533400">
              <a:lnSpc>
                <a:spcPct val="90000"/>
              </a:lnSpc>
              <a:spcBef>
                <a:spcPts val="1800"/>
              </a:spcBef>
              <a:buClr>
                <a:srgbClr val="FFE600"/>
              </a:buClr>
              <a:buFont typeface="Wingdings" panose="05000000000000000000" pitchFamily="2" charset="2"/>
              <a:buChar char="ü"/>
            </a:pPr>
            <a:r>
              <a:rPr lang="ro-RO" dirty="0" err="1">
                <a:solidFill>
                  <a:schemeClr val="bg1"/>
                </a:solidFill>
              </a:rPr>
              <a:t>Instrumentel</a:t>
            </a:r>
            <a:r>
              <a:rPr lang="en-US" dirty="0">
                <a:solidFill>
                  <a:schemeClr val="bg1"/>
                </a:solidFill>
              </a:rPr>
              <a:t>e</a:t>
            </a:r>
            <a:r>
              <a:rPr lang="ro-RO" dirty="0">
                <a:solidFill>
                  <a:schemeClr val="bg1"/>
                </a:solidFill>
              </a:rPr>
              <a:t> CAF și BSC </a:t>
            </a:r>
            <a:r>
              <a:rPr lang="en-US" dirty="0">
                <a:solidFill>
                  <a:schemeClr val="bg1"/>
                </a:solidFill>
              </a:rPr>
              <a:t>au </a:t>
            </a:r>
            <a:r>
              <a:rPr lang="en-US" dirty="0" err="1">
                <a:solidFill>
                  <a:schemeClr val="bg1"/>
                </a:solidFill>
              </a:rPr>
              <a:t>fost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implementate</a:t>
            </a:r>
            <a:r>
              <a:rPr lang="en-US" dirty="0">
                <a:solidFill>
                  <a:schemeClr val="bg1"/>
                </a:solidFill>
              </a:rPr>
              <a:t> ADR si DNSC</a:t>
            </a:r>
            <a:endParaRPr lang="ro-RO" dirty="0">
              <a:solidFill>
                <a:schemeClr val="bg1"/>
              </a:solidFill>
            </a:endParaRPr>
          </a:p>
          <a:p>
            <a:pPr marL="285750" lvl="0" indent="-285750" algn="l" defTabSz="533400">
              <a:lnSpc>
                <a:spcPct val="90000"/>
              </a:lnSpc>
              <a:spcBef>
                <a:spcPts val="1800"/>
              </a:spcBef>
              <a:buClr>
                <a:srgbClr val="FFE600"/>
              </a:buClr>
              <a:buFont typeface="Wingdings" panose="05000000000000000000" pitchFamily="2" charset="2"/>
              <a:buChar char="ü"/>
            </a:pPr>
            <a:r>
              <a:rPr lang="ro-RO" dirty="0">
                <a:solidFill>
                  <a:schemeClr val="bg1"/>
                </a:solidFill>
              </a:rPr>
              <a:t>Capacitatea crescută </a:t>
            </a:r>
            <a:r>
              <a:rPr lang="en-US" dirty="0">
                <a:solidFill>
                  <a:schemeClr val="bg1"/>
                </a:solidFill>
              </a:rPr>
              <a:t>in </a:t>
            </a:r>
            <a:r>
              <a:rPr lang="ro-RO" dirty="0">
                <a:solidFill>
                  <a:schemeClr val="bg1"/>
                </a:solidFill>
              </a:rPr>
              <a:t>utilizare</a:t>
            </a:r>
            <a:r>
              <a:rPr lang="en-US" dirty="0">
                <a:solidFill>
                  <a:schemeClr val="bg1"/>
                </a:solidFill>
              </a:rPr>
              <a:t>a</a:t>
            </a:r>
            <a:r>
              <a:rPr lang="ro-RO" dirty="0">
                <a:solidFill>
                  <a:schemeClr val="bg1"/>
                </a:solidFill>
              </a:rPr>
              <a:t> și gestionare a instrumentelor CAF și BSC </a:t>
            </a:r>
          </a:p>
          <a:p>
            <a:pPr marL="285750" lvl="0" indent="-285750" defTabSz="533400">
              <a:lnSpc>
                <a:spcPct val="90000"/>
              </a:lnSpc>
              <a:spcBef>
                <a:spcPts val="1800"/>
              </a:spcBef>
              <a:buClr>
                <a:srgbClr val="FFE600"/>
              </a:buClr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bg1"/>
                </a:solidFill>
              </a:rPr>
              <a:t>A </a:t>
            </a:r>
            <a:r>
              <a:rPr lang="en-US" dirty="0" err="1">
                <a:solidFill>
                  <a:schemeClr val="bg1"/>
                </a:solidFill>
              </a:rPr>
              <a:t>fost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ro-RO" dirty="0">
                <a:solidFill>
                  <a:schemeClr val="bg1"/>
                </a:solidFill>
              </a:rPr>
              <a:t>implementată în cadrul ADR</a:t>
            </a:r>
            <a:r>
              <a:rPr lang="en-US" dirty="0">
                <a:solidFill>
                  <a:schemeClr val="bg1"/>
                </a:solidFill>
              </a:rPr>
              <a:t> a</a:t>
            </a:r>
            <a:r>
              <a:rPr lang="ro-RO" dirty="0" err="1">
                <a:solidFill>
                  <a:schemeClr val="bg1"/>
                </a:solidFill>
              </a:rPr>
              <a:t>plicația</a:t>
            </a:r>
            <a:r>
              <a:rPr lang="ro-RO" dirty="0">
                <a:solidFill>
                  <a:schemeClr val="bg1"/>
                </a:solidFill>
              </a:rPr>
              <a:t> de monitorizare și evaluare a nivelului de digitalizare </a:t>
            </a:r>
            <a:r>
              <a:rPr lang="ro-RO" dirty="0"/>
              <a:t>al evenimentelor de viață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err="1">
                <a:solidFill>
                  <a:schemeClr val="bg1"/>
                </a:solidFill>
              </a:rPr>
              <a:t>selectate</a:t>
            </a:r>
            <a:r>
              <a:rPr lang="ro-RO" dirty="0">
                <a:solidFill>
                  <a:schemeClr val="bg1"/>
                </a:solidFill>
              </a:rPr>
              <a:t> </a:t>
            </a:r>
          </a:p>
        </p:txBody>
      </p:sp>
      <p:grpSp>
        <p:nvGrpSpPr>
          <p:cNvPr id="47" name="Group 113">
            <a:extLst>
              <a:ext uri="{FF2B5EF4-FFF2-40B4-BE49-F238E27FC236}">
                <a16:creationId xmlns:a16="http://schemas.microsoft.com/office/drawing/2014/main" id="{E2676093-A294-48F5-B7A5-B3B850F42D0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071824" y="1198461"/>
            <a:ext cx="1515470" cy="1301750"/>
            <a:chOff x="3155" y="3039"/>
            <a:chExt cx="780" cy="670"/>
          </a:xfrm>
          <a:solidFill>
            <a:schemeClr val="tx2"/>
          </a:solidFill>
        </p:grpSpPr>
        <p:sp>
          <p:nvSpPr>
            <p:cNvPr id="48" name="Freeform 114">
              <a:extLst>
                <a:ext uri="{FF2B5EF4-FFF2-40B4-BE49-F238E27FC236}">
                  <a16:creationId xmlns:a16="http://schemas.microsoft.com/office/drawing/2014/main" id="{78DF274A-5293-4107-820C-A5E0C158084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5" y="3173"/>
              <a:ext cx="478" cy="504"/>
            </a:xfrm>
            <a:custGeom>
              <a:avLst/>
              <a:gdLst>
                <a:gd name="T0" fmla="*/ 462 w 478"/>
                <a:gd name="T1" fmla="*/ 504 h 504"/>
                <a:gd name="T2" fmla="*/ 208 w 478"/>
                <a:gd name="T3" fmla="*/ 24 h 504"/>
                <a:gd name="T4" fmla="*/ 16 w 478"/>
                <a:gd name="T5" fmla="*/ 388 h 504"/>
                <a:gd name="T6" fmla="*/ 0 w 478"/>
                <a:gd name="T7" fmla="*/ 380 h 504"/>
                <a:gd name="T8" fmla="*/ 200 w 478"/>
                <a:gd name="T9" fmla="*/ 0 h 504"/>
                <a:gd name="T10" fmla="*/ 216 w 478"/>
                <a:gd name="T11" fmla="*/ 0 h 504"/>
                <a:gd name="T12" fmla="*/ 478 w 478"/>
                <a:gd name="T13" fmla="*/ 496 h 504"/>
                <a:gd name="T14" fmla="*/ 462 w 478"/>
                <a:gd name="T15" fmla="*/ 504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8" h="504">
                  <a:moveTo>
                    <a:pt x="462" y="504"/>
                  </a:moveTo>
                  <a:lnTo>
                    <a:pt x="208" y="24"/>
                  </a:lnTo>
                  <a:lnTo>
                    <a:pt x="16" y="388"/>
                  </a:lnTo>
                  <a:lnTo>
                    <a:pt x="0" y="380"/>
                  </a:lnTo>
                  <a:lnTo>
                    <a:pt x="200" y="0"/>
                  </a:lnTo>
                  <a:lnTo>
                    <a:pt x="216" y="0"/>
                  </a:lnTo>
                  <a:lnTo>
                    <a:pt x="478" y="496"/>
                  </a:lnTo>
                  <a:lnTo>
                    <a:pt x="462" y="5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15">
              <a:extLst>
                <a:ext uri="{FF2B5EF4-FFF2-40B4-BE49-F238E27FC236}">
                  <a16:creationId xmlns:a16="http://schemas.microsoft.com/office/drawing/2014/main" id="{016C9CB9-55AD-48A1-AE3A-DCBAFA99C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1" y="3277"/>
              <a:ext cx="258" cy="294"/>
            </a:xfrm>
            <a:custGeom>
              <a:avLst/>
              <a:gdLst>
                <a:gd name="T0" fmla="*/ 242 w 258"/>
                <a:gd name="T1" fmla="*/ 294 h 294"/>
                <a:gd name="T2" fmla="*/ 80 w 258"/>
                <a:gd name="T3" fmla="*/ 24 h 294"/>
                <a:gd name="T4" fmla="*/ 16 w 258"/>
                <a:gd name="T5" fmla="*/ 186 h 294"/>
                <a:gd name="T6" fmla="*/ 0 w 258"/>
                <a:gd name="T7" fmla="*/ 180 h 294"/>
                <a:gd name="T8" fmla="*/ 70 w 258"/>
                <a:gd name="T9" fmla="*/ 2 h 294"/>
                <a:gd name="T10" fmla="*/ 86 w 258"/>
                <a:gd name="T11" fmla="*/ 0 h 294"/>
                <a:gd name="T12" fmla="*/ 258 w 258"/>
                <a:gd name="T13" fmla="*/ 284 h 294"/>
                <a:gd name="T14" fmla="*/ 242 w 258"/>
                <a:gd name="T15" fmla="*/ 294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8" h="294">
                  <a:moveTo>
                    <a:pt x="242" y="294"/>
                  </a:moveTo>
                  <a:lnTo>
                    <a:pt x="80" y="24"/>
                  </a:lnTo>
                  <a:lnTo>
                    <a:pt x="16" y="186"/>
                  </a:lnTo>
                  <a:lnTo>
                    <a:pt x="0" y="180"/>
                  </a:lnTo>
                  <a:lnTo>
                    <a:pt x="70" y="2"/>
                  </a:lnTo>
                  <a:lnTo>
                    <a:pt x="86" y="0"/>
                  </a:lnTo>
                  <a:lnTo>
                    <a:pt x="258" y="284"/>
                  </a:lnTo>
                  <a:lnTo>
                    <a:pt x="242" y="29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16">
              <a:extLst>
                <a:ext uri="{FF2B5EF4-FFF2-40B4-BE49-F238E27FC236}">
                  <a16:creationId xmlns:a16="http://schemas.microsoft.com/office/drawing/2014/main" id="{C14ADDE0-56F0-496A-B2A0-C81547FC49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1" y="3295"/>
              <a:ext cx="158" cy="46"/>
            </a:xfrm>
            <a:custGeom>
              <a:avLst/>
              <a:gdLst>
                <a:gd name="T0" fmla="*/ 78 w 158"/>
                <a:gd name="T1" fmla="*/ 46 h 46"/>
                <a:gd name="T2" fmla="*/ 52 w 158"/>
                <a:gd name="T3" fmla="*/ 22 h 46"/>
                <a:gd name="T4" fmla="*/ 6 w 158"/>
                <a:gd name="T5" fmla="*/ 38 h 46"/>
                <a:gd name="T6" fmla="*/ 0 w 158"/>
                <a:gd name="T7" fmla="*/ 20 h 46"/>
                <a:gd name="T8" fmla="*/ 56 w 158"/>
                <a:gd name="T9" fmla="*/ 0 h 46"/>
                <a:gd name="T10" fmla="*/ 82 w 158"/>
                <a:gd name="T11" fmla="*/ 26 h 46"/>
                <a:gd name="T12" fmla="*/ 152 w 158"/>
                <a:gd name="T13" fmla="*/ 0 h 46"/>
                <a:gd name="T14" fmla="*/ 158 w 158"/>
                <a:gd name="T15" fmla="*/ 18 h 46"/>
                <a:gd name="T16" fmla="*/ 78 w 158"/>
                <a:gd name="T17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8" h="46">
                  <a:moveTo>
                    <a:pt x="78" y="46"/>
                  </a:moveTo>
                  <a:lnTo>
                    <a:pt x="52" y="22"/>
                  </a:lnTo>
                  <a:lnTo>
                    <a:pt x="6" y="38"/>
                  </a:lnTo>
                  <a:lnTo>
                    <a:pt x="0" y="20"/>
                  </a:lnTo>
                  <a:lnTo>
                    <a:pt x="56" y="0"/>
                  </a:lnTo>
                  <a:lnTo>
                    <a:pt x="82" y="26"/>
                  </a:lnTo>
                  <a:lnTo>
                    <a:pt x="152" y="0"/>
                  </a:lnTo>
                  <a:lnTo>
                    <a:pt x="158" y="18"/>
                  </a:lnTo>
                  <a:lnTo>
                    <a:pt x="78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17">
              <a:extLst>
                <a:ext uri="{FF2B5EF4-FFF2-40B4-BE49-F238E27FC236}">
                  <a16:creationId xmlns:a16="http://schemas.microsoft.com/office/drawing/2014/main" id="{31345AB5-824D-4169-ABD9-8968F03B8E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9" y="3345"/>
              <a:ext cx="94" cy="42"/>
            </a:xfrm>
            <a:custGeom>
              <a:avLst/>
              <a:gdLst>
                <a:gd name="T0" fmla="*/ 50 w 94"/>
                <a:gd name="T1" fmla="*/ 42 h 42"/>
                <a:gd name="T2" fmla="*/ 0 w 94"/>
                <a:gd name="T3" fmla="*/ 26 h 42"/>
                <a:gd name="T4" fmla="*/ 4 w 94"/>
                <a:gd name="T5" fmla="*/ 10 h 42"/>
                <a:gd name="T6" fmla="*/ 48 w 94"/>
                <a:gd name="T7" fmla="*/ 24 h 42"/>
                <a:gd name="T8" fmla="*/ 86 w 94"/>
                <a:gd name="T9" fmla="*/ 0 h 42"/>
                <a:gd name="T10" fmla="*/ 94 w 94"/>
                <a:gd name="T11" fmla="*/ 16 h 42"/>
                <a:gd name="T12" fmla="*/ 50 w 94"/>
                <a:gd name="T13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4" h="42">
                  <a:moveTo>
                    <a:pt x="50" y="42"/>
                  </a:moveTo>
                  <a:lnTo>
                    <a:pt x="0" y="26"/>
                  </a:lnTo>
                  <a:lnTo>
                    <a:pt x="4" y="10"/>
                  </a:lnTo>
                  <a:lnTo>
                    <a:pt x="48" y="24"/>
                  </a:lnTo>
                  <a:lnTo>
                    <a:pt x="86" y="0"/>
                  </a:lnTo>
                  <a:lnTo>
                    <a:pt x="94" y="16"/>
                  </a:lnTo>
                  <a:lnTo>
                    <a:pt x="50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Rectangle 118">
              <a:extLst>
                <a:ext uri="{FF2B5EF4-FFF2-40B4-BE49-F238E27FC236}">
                  <a16:creationId xmlns:a16="http://schemas.microsoft.com/office/drawing/2014/main" id="{329ECE0D-E984-4E7C-B69A-AB060E7FF7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5" y="3063"/>
              <a:ext cx="18" cy="13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119">
              <a:extLst>
                <a:ext uri="{FF2B5EF4-FFF2-40B4-BE49-F238E27FC236}">
                  <a16:creationId xmlns:a16="http://schemas.microsoft.com/office/drawing/2014/main" id="{158A2790-27BD-4BA9-9B85-35F51FB63B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35" y="3039"/>
              <a:ext cx="130" cy="80"/>
            </a:xfrm>
            <a:custGeom>
              <a:avLst/>
              <a:gdLst>
                <a:gd name="T0" fmla="*/ 130 w 130"/>
                <a:gd name="T1" fmla="*/ 80 h 80"/>
                <a:gd name="T2" fmla="*/ 0 w 130"/>
                <a:gd name="T3" fmla="*/ 80 h 80"/>
                <a:gd name="T4" fmla="*/ 0 w 130"/>
                <a:gd name="T5" fmla="*/ 0 h 80"/>
                <a:gd name="T6" fmla="*/ 130 w 130"/>
                <a:gd name="T7" fmla="*/ 0 h 80"/>
                <a:gd name="T8" fmla="*/ 92 w 130"/>
                <a:gd name="T9" fmla="*/ 40 h 80"/>
                <a:gd name="T10" fmla="*/ 130 w 130"/>
                <a:gd name="T11" fmla="*/ 80 h 80"/>
                <a:gd name="T12" fmla="*/ 18 w 130"/>
                <a:gd name="T13" fmla="*/ 62 h 80"/>
                <a:gd name="T14" fmla="*/ 88 w 130"/>
                <a:gd name="T15" fmla="*/ 62 h 80"/>
                <a:gd name="T16" fmla="*/ 68 w 130"/>
                <a:gd name="T17" fmla="*/ 40 h 80"/>
                <a:gd name="T18" fmla="*/ 88 w 130"/>
                <a:gd name="T19" fmla="*/ 18 h 80"/>
                <a:gd name="T20" fmla="*/ 18 w 130"/>
                <a:gd name="T21" fmla="*/ 18 h 80"/>
                <a:gd name="T22" fmla="*/ 18 w 130"/>
                <a:gd name="T23" fmla="*/ 6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0" h="80">
                  <a:moveTo>
                    <a:pt x="130" y="80"/>
                  </a:moveTo>
                  <a:lnTo>
                    <a:pt x="0" y="80"/>
                  </a:lnTo>
                  <a:lnTo>
                    <a:pt x="0" y="0"/>
                  </a:lnTo>
                  <a:lnTo>
                    <a:pt x="130" y="0"/>
                  </a:lnTo>
                  <a:lnTo>
                    <a:pt x="92" y="40"/>
                  </a:lnTo>
                  <a:lnTo>
                    <a:pt x="130" y="80"/>
                  </a:lnTo>
                  <a:close/>
                  <a:moveTo>
                    <a:pt x="18" y="62"/>
                  </a:moveTo>
                  <a:lnTo>
                    <a:pt x="88" y="62"/>
                  </a:lnTo>
                  <a:lnTo>
                    <a:pt x="68" y="40"/>
                  </a:lnTo>
                  <a:lnTo>
                    <a:pt x="88" y="18"/>
                  </a:lnTo>
                  <a:lnTo>
                    <a:pt x="18" y="18"/>
                  </a:lnTo>
                  <a:lnTo>
                    <a:pt x="18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120">
              <a:extLst>
                <a:ext uri="{FF2B5EF4-FFF2-40B4-BE49-F238E27FC236}">
                  <a16:creationId xmlns:a16="http://schemas.microsoft.com/office/drawing/2014/main" id="{292E8B48-BD7D-4A7E-A814-30D2ACE6112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5" y="3077"/>
              <a:ext cx="780" cy="632"/>
            </a:xfrm>
            <a:custGeom>
              <a:avLst/>
              <a:gdLst>
                <a:gd name="T0" fmla="*/ 390 w 780"/>
                <a:gd name="T1" fmla="*/ 632 h 632"/>
                <a:gd name="T2" fmla="*/ 310 w 780"/>
                <a:gd name="T3" fmla="*/ 624 h 632"/>
                <a:gd name="T4" fmla="*/ 238 w 780"/>
                <a:gd name="T5" fmla="*/ 600 h 632"/>
                <a:gd name="T6" fmla="*/ 172 w 780"/>
                <a:gd name="T7" fmla="*/ 564 h 632"/>
                <a:gd name="T8" fmla="*/ 114 w 780"/>
                <a:gd name="T9" fmla="*/ 518 h 632"/>
                <a:gd name="T10" fmla="*/ 66 w 780"/>
                <a:gd name="T11" fmla="*/ 460 h 632"/>
                <a:gd name="T12" fmla="*/ 30 w 780"/>
                <a:gd name="T13" fmla="*/ 394 h 632"/>
                <a:gd name="T14" fmla="*/ 8 w 780"/>
                <a:gd name="T15" fmla="*/ 320 h 632"/>
                <a:gd name="T16" fmla="*/ 0 w 780"/>
                <a:gd name="T17" fmla="*/ 242 h 632"/>
                <a:gd name="T18" fmla="*/ 0 w 780"/>
                <a:gd name="T19" fmla="*/ 210 h 632"/>
                <a:gd name="T20" fmla="*/ 10 w 780"/>
                <a:gd name="T21" fmla="*/ 148 h 632"/>
                <a:gd name="T22" fmla="*/ 30 w 780"/>
                <a:gd name="T23" fmla="*/ 88 h 632"/>
                <a:gd name="T24" fmla="*/ 60 w 780"/>
                <a:gd name="T25" fmla="*/ 32 h 632"/>
                <a:gd name="T26" fmla="*/ 84 w 780"/>
                <a:gd name="T27" fmla="*/ 0 h 632"/>
                <a:gd name="T28" fmla="*/ 92 w 780"/>
                <a:gd name="T29" fmla="*/ 18 h 632"/>
                <a:gd name="T30" fmla="*/ 76 w 780"/>
                <a:gd name="T31" fmla="*/ 42 h 632"/>
                <a:gd name="T32" fmla="*/ 48 w 780"/>
                <a:gd name="T33" fmla="*/ 96 h 632"/>
                <a:gd name="T34" fmla="*/ 28 w 780"/>
                <a:gd name="T35" fmla="*/ 152 h 632"/>
                <a:gd name="T36" fmla="*/ 18 w 780"/>
                <a:gd name="T37" fmla="*/ 212 h 632"/>
                <a:gd name="T38" fmla="*/ 18 w 780"/>
                <a:gd name="T39" fmla="*/ 242 h 632"/>
                <a:gd name="T40" fmla="*/ 26 w 780"/>
                <a:gd name="T41" fmla="*/ 316 h 632"/>
                <a:gd name="T42" fmla="*/ 46 w 780"/>
                <a:gd name="T43" fmla="*/ 386 h 632"/>
                <a:gd name="T44" fmla="*/ 82 w 780"/>
                <a:gd name="T45" fmla="*/ 450 h 632"/>
                <a:gd name="T46" fmla="*/ 126 w 780"/>
                <a:gd name="T47" fmla="*/ 504 h 632"/>
                <a:gd name="T48" fmla="*/ 182 w 780"/>
                <a:gd name="T49" fmla="*/ 550 h 632"/>
                <a:gd name="T50" fmla="*/ 244 w 780"/>
                <a:gd name="T51" fmla="*/ 584 h 632"/>
                <a:gd name="T52" fmla="*/ 314 w 780"/>
                <a:gd name="T53" fmla="*/ 606 h 632"/>
                <a:gd name="T54" fmla="*/ 390 w 780"/>
                <a:gd name="T55" fmla="*/ 614 h 632"/>
                <a:gd name="T56" fmla="*/ 428 w 780"/>
                <a:gd name="T57" fmla="*/ 612 h 632"/>
                <a:gd name="T58" fmla="*/ 500 w 780"/>
                <a:gd name="T59" fmla="*/ 596 h 632"/>
                <a:gd name="T60" fmla="*/ 566 w 780"/>
                <a:gd name="T61" fmla="*/ 568 h 632"/>
                <a:gd name="T62" fmla="*/ 626 w 780"/>
                <a:gd name="T63" fmla="*/ 528 h 632"/>
                <a:gd name="T64" fmla="*/ 676 w 780"/>
                <a:gd name="T65" fmla="*/ 478 h 632"/>
                <a:gd name="T66" fmla="*/ 716 w 780"/>
                <a:gd name="T67" fmla="*/ 418 h 632"/>
                <a:gd name="T68" fmla="*/ 744 w 780"/>
                <a:gd name="T69" fmla="*/ 352 h 632"/>
                <a:gd name="T70" fmla="*/ 760 w 780"/>
                <a:gd name="T71" fmla="*/ 280 h 632"/>
                <a:gd name="T72" fmla="*/ 762 w 780"/>
                <a:gd name="T73" fmla="*/ 242 h 632"/>
                <a:gd name="T74" fmla="*/ 758 w 780"/>
                <a:gd name="T75" fmla="*/ 196 h 632"/>
                <a:gd name="T76" fmla="*/ 750 w 780"/>
                <a:gd name="T77" fmla="*/ 150 h 632"/>
                <a:gd name="T78" fmla="*/ 736 w 780"/>
                <a:gd name="T79" fmla="*/ 106 h 632"/>
                <a:gd name="T80" fmla="*/ 716 w 780"/>
                <a:gd name="T81" fmla="*/ 64 h 632"/>
                <a:gd name="T82" fmla="*/ 726 w 780"/>
                <a:gd name="T83" fmla="*/ 46 h 632"/>
                <a:gd name="T84" fmla="*/ 732 w 780"/>
                <a:gd name="T85" fmla="*/ 54 h 632"/>
                <a:gd name="T86" fmla="*/ 752 w 780"/>
                <a:gd name="T87" fmla="*/ 98 h 632"/>
                <a:gd name="T88" fmla="*/ 766 w 780"/>
                <a:gd name="T89" fmla="*/ 144 h 632"/>
                <a:gd name="T90" fmla="*/ 776 w 780"/>
                <a:gd name="T91" fmla="*/ 192 h 632"/>
                <a:gd name="T92" fmla="*/ 780 w 780"/>
                <a:gd name="T93" fmla="*/ 242 h 632"/>
                <a:gd name="T94" fmla="*/ 778 w 780"/>
                <a:gd name="T95" fmla="*/ 282 h 632"/>
                <a:gd name="T96" fmla="*/ 762 w 780"/>
                <a:gd name="T97" fmla="*/ 358 h 632"/>
                <a:gd name="T98" fmla="*/ 732 w 780"/>
                <a:gd name="T99" fmla="*/ 428 h 632"/>
                <a:gd name="T100" fmla="*/ 690 w 780"/>
                <a:gd name="T101" fmla="*/ 490 h 632"/>
                <a:gd name="T102" fmla="*/ 638 w 780"/>
                <a:gd name="T103" fmla="*/ 542 h 632"/>
                <a:gd name="T104" fmla="*/ 574 w 780"/>
                <a:gd name="T105" fmla="*/ 584 h 632"/>
                <a:gd name="T106" fmla="*/ 506 w 780"/>
                <a:gd name="T107" fmla="*/ 614 h 632"/>
                <a:gd name="T108" fmla="*/ 430 w 780"/>
                <a:gd name="T109" fmla="*/ 630 h 632"/>
                <a:gd name="T110" fmla="*/ 390 w 780"/>
                <a:gd name="T111" fmla="*/ 632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80" h="632">
                  <a:moveTo>
                    <a:pt x="390" y="632"/>
                  </a:moveTo>
                  <a:lnTo>
                    <a:pt x="390" y="632"/>
                  </a:lnTo>
                  <a:lnTo>
                    <a:pt x="350" y="630"/>
                  </a:lnTo>
                  <a:lnTo>
                    <a:pt x="310" y="624"/>
                  </a:lnTo>
                  <a:lnTo>
                    <a:pt x="274" y="614"/>
                  </a:lnTo>
                  <a:lnTo>
                    <a:pt x="238" y="600"/>
                  </a:lnTo>
                  <a:lnTo>
                    <a:pt x="204" y="584"/>
                  </a:lnTo>
                  <a:lnTo>
                    <a:pt x="172" y="564"/>
                  </a:lnTo>
                  <a:lnTo>
                    <a:pt x="142" y="542"/>
                  </a:lnTo>
                  <a:lnTo>
                    <a:pt x="114" y="518"/>
                  </a:lnTo>
                  <a:lnTo>
                    <a:pt x="88" y="490"/>
                  </a:lnTo>
                  <a:lnTo>
                    <a:pt x="66" y="460"/>
                  </a:lnTo>
                  <a:lnTo>
                    <a:pt x="46" y="428"/>
                  </a:lnTo>
                  <a:lnTo>
                    <a:pt x="30" y="394"/>
                  </a:lnTo>
                  <a:lnTo>
                    <a:pt x="18" y="358"/>
                  </a:lnTo>
                  <a:lnTo>
                    <a:pt x="8" y="320"/>
                  </a:lnTo>
                  <a:lnTo>
                    <a:pt x="2" y="282"/>
                  </a:lnTo>
                  <a:lnTo>
                    <a:pt x="0" y="242"/>
                  </a:lnTo>
                  <a:lnTo>
                    <a:pt x="0" y="242"/>
                  </a:lnTo>
                  <a:lnTo>
                    <a:pt x="0" y="210"/>
                  </a:lnTo>
                  <a:lnTo>
                    <a:pt x="4" y="178"/>
                  </a:lnTo>
                  <a:lnTo>
                    <a:pt x="10" y="148"/>
                  </a:lnTo>
                  <a:lnTo>
                    <a:pt x="20" y="118"/>
                  </a:lnTo>
                  <a:lnTo>
                    <a:pt x="30" y="88"/>
                  </a:lnTo>
                  <a:lnTo>
                    <a:pt x="44" y="60"/>
                  </a:lnTo>
                  <a:lnTo>
                    <a:pt x="60" y="32"/>
                  </a:lnTo>
                  <a:lnTo>
                    <a:pt x="78" y="6"/>
                  </a:lnTo>
                  <a:lnTo>
                    <a:pt x="84" y="0"/>
                  </a:lnTo>
                  <a:lnTo>
                    <a:pt x="98" y="10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76" y="42"/>
                  </a:lnTo>
                  <a:lnTo>
                    <a:pt x="60" y="68"/>
                  </a:lnTo>
                  <a:lnTo>
                    <a:pt x="48" y="96"/>
                  </a:lnTo>
                  <a:lnTo>
                    <a:pt x="36" y="124"/>
                  </a:lnTo>
                  <a:lnTo>
                    <a:pt x="28" y="152"/>
                  </a:lnTo>
                  <a:lnTo>
                    <a:pt x="22" y="182"/>
                  </a:lnTo>
                  <a:lnTo>
                    <a:pt x="18" y="212"/>
                  </a:lnTo>
                  <a:lnTo>
                    <a:pt x="18" y="242"/>
                  </a:lnTo>
                  <a:lnTo>
                    <a:pt x="18" y="242"/>
                  </a:lnTo>
                  <a:lnTo>
                    <a:pt x="20" y="280"/>
                  </a:lnTo>
                  <a:lnTo>
                    <a:pt x="26" y="316"/>
                  </a:lnTo>
                  <a:lnTo>
                    <a:pt x="34" y="352"/>
                  </a:lnTo>
                  <a:lnTo>
                    <a:pt x="46" y="386"/>
                  </a:lnTo>
                  <a:lnTo>
                    <a:pt x="62" y="418"/>
                  </a:lnTo>
                  <a:lnTo>
                    <a:pt x="82" y="450"/>
                  </a:lnTo>
                  <a:lnTo>
                    <a:pt x="102" y="478"/>
                  </a:lnTo>
                  <a:lnTo>
                    <a:pt x="126" y="504"/>
                  </a:lnTo>
                  <a:lnTo>
                    <a:pt x="154" y="528"/>
                  </a:lnTo>
                  <a:lnTo>
                    <a:pt x="182" y="550"/>
                  </a:lnTo>
                  <a:lnTo>
                    <a:pt x="212" y="568"/>
                  </a:lnTo>
                  <a:lnTo>
                    <a:pt x="244" y="584"/>
                  </a:lnTo>
                  <a:lnTo>
                    <a:pt x="278" y="596"/>
                  </a:lnTo>
                  <a:lnTo>
                    <a:pt x="314" y="606"/>
                  </a:lnTo>
                  <a:lnTo>
                    <a:pt x="352" y="612"/>
                  </a:lnTo>
                  <a:lnTo>
                    <a:pt x="390" y="614"/>
                  </a:lnTo>
                  <a:lnTo>
                    <a:pt x="390" y="614"/>
                  </a:lnTo>
                  <a:lnTo>
                    <a:pt x="428" y="612"/>
                  </a:lnTo>
                  <a:lnTo>
                    <a:pt x="464" y="606"/>
                  </a:lnTo>
                  <a:lnTo>
                    <a:pt x="500" y="596"/>
                  </a:lnTo>
                  <a:lnTo>
                    <a:pt x="534" y="584"/>
                  </a:lnTo>
                  <a:lnTo>
                    <a:pt x="566" y="568"/>
                  </a:lnTo>
                  <a:lnTo>
                    <a:pt x="598" y="550"/>
                  </a:lnTo>
                  <a:lnTo>
                    <a:pt x="626" y="528"/>
                  </a:lnTo>
                  <a:lnTo>
                    <a:pt x="652" y="504"/>
                  </a:lnTo>
                  <a:lnTo>
                    <a:pt x="676" y="478"/>
                  </a:lnTo>
                  <a:lnTo>
                    <a:pt x="698" y="450"/>
                  </a:lnTo>
                  <a:lnTo>
                    <a:pt x="716" y="418"/>
                  </a:lnTo>
                  <a:lnTo>
                    <a:pt x="732" y="386"/>
                  </a:lnTo>
                  <a:lnTo>
                    <a:pt x="744" y="352"/>
                  </a:lnTo>
                  <a:lnTo>
                    <a:pt x="754" y="316"/>
                  </a:lnTo>
                  <a:lnTo>
                    <a:pt x="760" y="280"/>
                  </a:lnTo>
                  <a:lnTo>
                    <a:pt x="762" y="242"/>
                  </a:lnTo>
                  <a:lnTo>
                    <a:pt x="762" y="242"/>
                  </a:lnTo>
                  <a:lnTo>
                    <a:pt x="760" y="218"/>
                  </a:lnTo>
                  <a:lnTo>
                    <a:pt x="758" y="196"/>
                  </a:lnTo>
                  <a:lnTo>
                    <a:pt x="754" y="172"/>
                  </a:lnTo>
                  <a:lnTo>
                    <a:pt x="750" y="150"/>
                  </a:lnTo>
                  <a:lnTo>
                    <a:pt x="744" y="126"/>
                  </a:lnTo>
                  <a:lnTo>
                    <a:pt x="736" y="106"/>
                  </a:lnTo>
                  <a:lnTo>
                    <a:pt x="726" y="84"/>
                  </a:lnTo>
                  <a:lnTo>
                    <a:pt x="716" y="64"/>
                  </a:lnTo>
                  <a:lnTo>
                    <a:pt x="712" y="56"/>
                  </a:lnTo>
                  <a:lnTo>
                    <a:pt x="726" y="46"/>
                  </a:lnTo>
                  <a:lnTo>
                    <a:pt x="732" y="54"/>
                  </a:lnTo>
                  <a:lnTo>
                    <a:pt x="732" y="54"/>
                  </a:lnTo>
                  <a:lnTo>
                    <a:pt x="742" y="76"/>
                  </a:lnTo>
                  <a:lnTo>
                    <a:pt x="752" y="98"/>
                  </a:lnTo>
                  <a:lnTo>
                    <a:pt x="760" y="122"/>
                  </a:lnTo>
                  <a:lnTo>
                    <a:pt x="766" y="144"/>
                  </a:lnTo>
                  <a:lnTo>
                    <a:pt x="772" y="168"/>
                  </a:lnTo>
                  <a:lnTo>
                    <a:pt x="776" y="192"/>
                  </a:lnTo>
                  <a:lnTo>
                    <a:pt x="778" y="218"/>
                  </a:lnTo>
                  <a:lnTo>
                    <a:pt x="780" y="242"/>
                  </a:lnTo>
                  <a:lnTo>
                    <a:pt x="780" y="242"/>
                  </a:lnTo>
                  <a:lnTo>
                    <a:pt x="778" y="282"/>
                  </a:lnTo>
                  <a:lnTo>
                    <a:pt x="772" y="320"/>
                  </a:lnTo>
                  <a:lnTo>
                    <a:pt x="762" y="358"/>
                  </a:lnTo>
                  <a:lnTo>
                    <a:pt x="748" y="394"/>
                  </a:lnTo>
                  <a:lnTo>
                    <a:pt x="732" y="428"/>
                  </a:lnTo>
                  <a:lnTo>
                    <a:pt x="712" y="460"/>
                  </a:lnTo>
                  <a:lnTo>
                    <a:pt x="690" y="490"/>
                  </a:lnTo>
                  <a:lnTo>
                    <a:pt x="664" y="518"/>
                  </a:lnTo>
                  <a:lnTo>
                    <a:pt x="638" y="542"/>
                  </a:lnTo>
                  <a:lnTo>
                    <a:pt x="608" y="564"/>
                  </a:lnTo>
                  <a:lnTo>
                    <a:pt x="574" y="584"/>
                  </a:lnTo>
                  <a:lnTo>
                    <a:pt x="540" y="600"/>
                  </a:lnTo>
                  <a:lnTo>
                    <a:pt x="506" y="614"/>
                  </a:lnTo>
                  <a:lnTo>
                    <a:pt x="468" y="624"/>
                  </a:lnTo>
                  <a:lnTo>
                    <a:pt x="430" y="630"/>
                  </a:lnTo>
                  <a:lnTo>
                    <a:pt x="390" y="632"/>
                  </a:lnTo>
                  <a:lnTo>
                    <a:pt x="390" y="6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56" name="Picture 55" descr="A person holding a tablet&#10;&#10;Description automatically generated with medium confidence">
            <a:extLst>
              <a:ext uri="{FF2B5EF4-FFF2-40B4-BE49-F238E27FC236}">
                <a16:creationId xmlns:a16="http://schemas.microsoft.com/office/drawing/2014/main" id="{A0FC3749-10C5-4A90-8C5B-D54D4A64C94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356" r="25403"/>
          <a:stretch/>
        </p:blipFill>
        <p:spPr>
          <a:xfrm>
            <a:off x="0" y="0"/>
            <a:ext cx="2387636" cy="6858000"/>
          </a:xfrm>
          <a:prstGeom prst="rect">
            <a:avLst/>
          </a:prstGeom>
        </p:spPr>
      </p:pic>
      <p:pic>
        <p:nvPicPr>
          <p:cNvPr id="16" name="Picture 6" descr="A picture containing indoor&#10;&#10;Description automatically generated">
            <a:extLst>
              <a:ext uri="{FF2B5EF4-FFF2-40B4-BE49-F238E27FC236}">
                <a16:creationId xmlns:a16="http://schemas.microsoft.com/office/drawing/2014/main" id="{7A8B5CAD-B3E1-421C-BC74-A1A29449FB2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8" r="19407" b="6471"/>
          <a:stretch/>
        </p:blipFill>
        <p:spPr>
          <a:xfrm rot="5400000">
            <a:off x="2835195" y="4504698"/>
            <a:ext cx="1975924" cy="1710674"/>
          </a:xfrm>
          <a:prstGeom prst="rect">
            <a:avLst/>
          </a:prstGeom>
        </p:spPr>
      </p:pic>
      <p:pic>
        <p:nvPicPr>
          <p:cNvPr id="17" name="Picture 3">
            <a:extLst>
              <a:ext uri="{FF2B5EF4-FFF2-40B4-BE49-F238E27FC236}">
                <a16:creationId xmlns:a16="http://schemas.microsoft.com/office/drawing/2014/main" id="{6B2AEBAA-F6AD-4B7F-9E87-A6461DFEB1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" r="1" b="19407"/>
          <a:stretch/>
        </p:blipFill>
        <p:spPr bwMode="auto">
          <a:xfrm>
            <a:off x="4952015" y="4372073"/>
            <a:ext cx="3252047" cy="1975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ine 5" descr="O imagine care conține text&#10;&#10;Descriere generată automat">
            <a:extLst>
              <a:ext uri="{FF2B5EF4-FFF2-40B4-BE49-F238E27FC236}">
                <a16:creationId xmlns:a16="http://schemas.microsoft.com/office/drawing/2014/main" id="{F09B31B8-551B-4A5C-BF77-C324204CA88B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9159"/>
          <a:stretch/>
        </p:blipFill>
        <p:spPr>
          <a:xfrm rot="5400000">
            <a:off x="8305307" y="4544349"/>
            <a:ext cx="1975925" cy="1631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4881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u 1">
            <a:extLst>
              <a:ext uri="{FF2B5EF4-FFF2-40B4-BE49-F238E27FC236}">
                <a16:creationId xmlns:a16="http://schemas.microsoft.com/office/drawing/2014/main" id="{CC498ED7-8912-469C-8FD9-22AEE6A006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8366" y="294200"/>
            <a:ext cx="8880067" cy="590880"/>
          </a:xfrm>
        </p:spPr>
        <p:txBody>
          <a:bodyPr/>
          <a:lstStyle/>
          <a:p>
            <a:pPr lvl="0" algn="l" defTabSz="533400">
              <a:lnSpc>
                <a:spcPct val="90000"/>
              </a:lnSpc>
              <a:spcBef>
                <a:spcPts val="1800"/>
              </a:spcBef>
              <a:buClr>
                <a:srgbClr val="FFE600"/>
              </a:buClr>
            </a:pPr>
            <a:r>
              <a:rPr lang="ro-RO" dirty="0">
                <a:solidFill>
                  <a:schemeClr val="bg1"/>
                </a:solidFill>
              </a:rPr>
              <a:t>Aplicația de monitorizare și evaluare a nivelului de digitalizare</a:t>
            </a:r>
          </a:p>
        </p:txBody>
      </p:sp>
      <p:sp>
        <p:nvSpPr>
          <p:cNvPr id="5" name="Substituent număr diapozitiv 4">
            <a:extLst>
              <a:ext uri="{FF2B5EF4-FFF2-40B4-BE49-F238E27FC236}">
                <a16:creationId xmlns:a16="http://schemas.microsoft.com/office/drawing/2014/main" id="{1426A268-7FF3-4EB3-BDE7-636F94276C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o-RO" dirty="0"/>
              <a:t>Pagina </a:t>
            </a:r>
            <a:fld id="{F1BC30E3-FFE5-4B91-AA19-87A149EBB9EE}" type="slidenum">
              <a:rPr lang="ro-RO" smtClean="0"/>
              <a:pPr/>
              <a:t>5</a:t>
            </a:fld>
            <a:endParaRPr lang="ro-RO" dirty="0"/>
          </a:p>
        </p:txBody>
      </p:sp>
      <p:graphicFrame>
        <p:nvGraphicFramePr>
          <p:cNvPr id="18" name="Nomogramă 17">
            <a:extLst>
              <a:ext uri="{FF2B5EF4-FFF2-40B4-BE49-F238E27FC236}">
                <a16:creationId xmlns:a16="http://schemas.microsoft.com/office/drawing/2014/main" id="{91DC6F68-6530-4EF1-A286-CEFE987114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158370"/>
              </p:ext>
            </p:extLst>
          </p:nvPr>
        </p:nvGraphicFramePr>
        <p:xfrm>
          <a:off x="-383736" y="978425"/>
          <a:ext cx="5338912" cy="54214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9" name="CasetăText 18">
            <a:extLst>
              <a:ext uri="{FF2B5EF4-FFF2-40B4-BE49-F238E27FC236}">
                <a16:creationId xmlns:a16="http://schemas.microsoft.com/office/drawing/2014/main" id="{83206858-8657-4D80-80A8-07A9A60B9106}"/>
              </a:ext>
            </a:extLst>
          </p:cNvPr>
          <p:cNvSpPr txBox="1"/>
          <p:nvPr/>
        </p:nvSpPr>
        <p:spPr>
          <a:xfrm>
            <a:off x="2473234" y="1724297"/>
            <a:ext cx="235132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o-RO" sz="2400" dirty="0">
                <a:solidFill>
                  <a:schemeClr val="bg1"/>
                </a:solidFill>
              </a:rPr>
              <a:t>1</a:t>
            </a:r>
            <a:endParaRPr lang="en-US" sz="2400" dirty="0" err="1">
              <a:solidFill>
                <a:schemeClr val="bg1"/>
              </a:solidFill>
            </a:endParaRPr>
          </a:p>
        </p:txBody>
      </p:sp>
      <p:sp>
        <p:nvSpPr>
          <p:cNvPr id="20" name="CasetăText 19">
            <a:extLst>
              <a:ext uri="{FF2B5EF4-FFF2-40B4-BE49-F238E27FC236}">
                <a16:creationId xmlns:a16="http://schemas.microsoft.com/office/drawing/2014/main" id="{485F6A50-170D-4205-9478-E4318F2474F7}"/>
              </a:ext>
            </a:extLst>
          </p:cNvPr>
          <p:cNvSpPr txBox="1"/>
          <p:nvPr/>
        </p:nvSpPr>
        <p:spPr>
          <a:xfrm>
            <a:off x="1867989" y="2965269"/>
            <a:ext cx="235132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o-RO" sz="2400" dirty="0">
                <a:solidFill>
                  <a:schemeClr val="bg1"/>
                </a:solidFill>
              </a:rPr>
              <a:t>2</a:t>
            </a:r>
            <a:endParaRPr lang="en-US" sz="2400" dirty="0" err="1">
              <a:solidFill>
                <a:schemeClr val="bg1"/>
              </a:solidFill>
            </a:endParaRPr>
          </a:p>
        </p:txBody>
      </p:sp>
      <p:sp>
        <p:nvSpPr>
          <p:cNvPr id="21" name="CasetăText 20">
            <a:extLst>
              <a:ext uri="{FF2B5EF4-FFF2-40B4-BE49-F238E27FC236}">
                <a16:creationId xmlns:a16="http://schemas.microsoft.com/office/drawing/2014/main" id="{F9C7ED28-C775-49CC-9079-296254D544B4}"/>
              </a:ext>
            </a:extLst>
          </p:cNvPr>
          <p:cNvSpPr txBox="1"/>
          <p:nvPr/>
        </p:nvSpPr>
        <p:spPr>
          <a:xfrm>
            <a:off x="2473234" y="4062105"/>
            <a:ext cx="235132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o-RO" sz="2400" dirty="0">
                <a:solidFill>
                  <a:schemeClr val="bg1"/>
                </a:solidFill>
              </a:rPr>
              <a:t>3</a:t>
            </a:r>
            <a:endParaRPr lang="en-US" sz="2400" dirty="0" err="1">
              <a:solidFill>
                <a:schemeClr val="bg1"/>
              </a:solidFill>
            </a:endParaRPr>
          </a:p>
        </p:txBody>
      </p:sp>
      <p:sp>
        <p:nvSpPr>
          <p:cNvPr id="22" name="CasetăText 21">
            <a:extLst>
              <a:ext uri="{FF2B5EF4-FFF2-40B4-BE49-F238E27FC236}">
                <a16:creationId xmlns:a16="http://schemas.microsoft.com/office/drawing/2014/main" id="{64EC6ECB-DBD3-4D07-BBBC-746BFE91F842}"/>
              </a:ext>
            </a:extLst>
          </p:cNvPr>
          <p:cNvSpPr txBox="1"/>
          <p:nvPr/>
        </p:nvSpPr>
        <p:spPr>
          <a:xfrm>
            <a:off x="1867989" y="5433705"/>
            <a:ext cx="235132" cy="350865"/>
          </a:xfrm>
          <a:prstGeom prst="rect">
            <a:avLst/>
          </a:prstGeom>
          <a:noFill/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ro-RO" sz="2400" dirty="0">
                <a:solidFill>
                  <a:schemeClr val="bg1"/>
                </a:solidFill>
              </a:rPr>
              <a:t>4</a:t>
            </a:r>
            <a:endParaRPr lang="en-US" sz="24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4195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5BDBC1C9-2273-4217-90C6-4F022556A5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5309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4" imgW="592" imgH="595" progId="TCLayout.ActiveDocument.1">
                  <p:embed/>
                </p:oleObj>
              </mc:Choice>
              <mc:Fallback>
                <p:oleObj name="think-cell Slide" r:id="rId84" imgW="592" imgH="595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5BDBC1C9-2273-4217-90C6-4F022556A5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u 1">
            <a:extLst>
              <a:ext uri="{FF2B5EF4-FFF2-40B4-BE49-F238E27FC236}">
                <a16:creationId xmlns:a16="http://schemas.microsoft.com/office/drawing/2014/main" id="{4C905F7F-472E-4F78-8C6D-ECDB893BC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918" y="294200"/>
            <a:ext cx="10978515" cy="590400"/>
          </a:xfrm>
        </p:spPr>
        <p:txBody>
          <a:bodyPr vert="horz"/>
          <a:lstStyle/>
          <a:p>
            <a:r>
              <a:rPr lang="ro-RO" dirty="0">
                <a:latin typeface="+mj-lt"/>
              </a:rPr>
              <a:t>Nivelul de digitalizare al administrației publice din România</a:t>
            </a:r>
          </a:p>
        </p:txBody>
      </p:sp>
      <p:sp>
        <p:nvSpPr>
          <p:cNvPr id="5" name="Substituent număr diapozitiv 4">
            <a:extLst>
              <a:ext uri="{FF2B5EF4-FFF2-40B4-BE49-F238E27FC236}">
                <a16:creationId xmlns:a16="http://schemas.microsoft.com/office/drawing/2014/main" id="{63254396-2895-4307-8D2B-8852B08BAC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dirty="0">
                <a:latin typeface="+mn-lt"/>
              </a:rPr>
              <a:t>Pag</a:t>
            </a:r>
            <a:r>
              <a:rPr lang="ro-RO" dirty="0">
                <a:latin typeface="+mn-lt"/>
              </a:rPr>
              <a:t>ina</a:t>
            </a:r>
            <a:r>
              <a:rPr lang="en-GB" dirty="0">
                <a:latin typeface="+mn-lt"/>
              </a:rPr>
              <a:t> </a:t>
            </a:r>
            <a:fld id="{F1BC30E3-FFE5-4B91-AA19-87A149EBB9EE}" type="slidenum">
              <a:rPr smtClean="0">
                <a:latin typeface="+mn-lt"/>
              </a:rPr>
              <a:pPr/>
              <a:t>6</a:t>
            </a:fld>
            <a:endParaRPr dirty="0">
              <a:latin typeface="+mn-lt"/>
            </a:endParaRPr>
          </a:p>
        </p:txBody>
      </p:sp>
      <p:sp>
        <p:nvSpPr>
          <p:cNvPr id="13" name="Dreptunghi 12">
            <a:extLst>
              <a:ext uri="{FF2B5EF4-FFF2-40B4-BE49-F238E27FC236}">
                <a16:creationId xmlns:a16="http://schemas.microsoft.com/office/drawing/2014/main" id="{8468ED77-FF94-4B4A-9B0B-BB1297535ABC}"/>
              </a:ext>
            </a:extLst>
          </p:cNvPr>
          <p:cNvSpPr/>
          <p:nvPr/>
        </p:nvSpPr>
        <p:spPr>
          <a:xfrm>
            <a:off x="1349325" y="2338539"/>
            <a:ext cx="877858" cy="34025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7" name="Dreptunghi 16">
            <a:extLst>
              <a:ext uri="{FF2B5EF4-FFF2-40B4-BE49-F238E27FC236}">
                <a16:creationId xmlns:a16="http://schemas.microsoft.com/office/drawing/2014/main" id="{5FA3C110-4EA9-47E4-BA40-479B1FAAE174}"/>
              </a:ext>
            </a:extLst>
          </p:cNvPr>
          <p:cNvSpPr/>
          <p:nvPr/>
        </p:nvSpPr>
        <p:spPr>
          <a:xfrm>
            <a:off x="2139154" y="1796653"/>
            <a:ext cx="877858" cy="86628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sp>
        <p:nvSpPr>
          <p:cNvPr id="14" name="CasetăText 13">
            <a:extLst>
              <a:ext uri="{FF2B5EF4-FFF2-40B4-BE49-F238E27FC236}">
                <a16:creationId xmlns:a16="http://schemas.microsoft.com/office/drawing/2014/main" id="{658C009B-CB13-4839-9206-6DB946DC664C}"/>
              </a:ext>
            </a:extLst>
          </p:cNvPr>
          <p:cNvSpPr txBox="1"/>
          <p:nvPr/>
        </p:nvSpPr>
        <p:spPr>
          <a:xfrm>
            <a:off x="609918" y="1496526"/>
            <a:ext cx="2111185" cy="1583565"/>
          </a:xfrm>
          <a:prstGeom prst="chevron">
            <a:avLst>
              <a:gd name="adj" fmla="val 16686"/>
            </a:avLst>
          </a:prstGeom>
          <a:solidFill>
            <a:srgbClr val="FFE600"/>
          </a:solidFill>
        </p:spPr>
        <p:txBody>
          <a:bodyPr wrap="square" lIns="91440" tIns="0" rIns="0" bIns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it-IT" sz="1200" dirty="0">
                <a:solidFill>
                  <a:schemeClr val="tx1"/>
                </a:solidFill>
              </a:rPr>
              <a:t>Politic</a:t>
            </a:r>
            <a:r>
              <a:rPr lang="ro-RO" sz="1200" dirty="0">
                <a:solidFill>
                  <a:schemeClr val="tx1"/>
                </a:solidFill>
              </a:rPr>
              <a:t>a</a:t>
            </a:r>
            <a:r>
              <a:rPr lang="it-IT" sz="1200" dirty="0">
                <a:solidFill>
                  <a:schemeClr val="tx1"/>
                </a:solidFill>
              </a:rPr>
              <a:t> Public</a:t>
            </a:r>
            <a:r>
              <a:rPr lang="ro-RO" sz="1200" dirty="0">
                <a:solidFill>
                  <a:schemeClr val="tx1"/>
                </a:solidFill>
              </a:rPr>
              <a:t>ă</a:t>
            </a:r>
            <a:br>
              <a:rPr lang="it-IT" sz="1200" dirty="0">
                <a:solidFill>
                  <a:schemeClr val="tx1"/>
                </a:solidFill>
              </a:rPr>
            </a:br>
            <a:r>
              <a:rPr lang="ro-RO" sz="1200" dirty="0">
                <a:solidFill>
                  <a:schemeClr val="tx1"/>
                </a:solidFill>
              </a:rPr>
              <a:t>de </a:t>
            </a:r>
            <a:r>
              <a:rPr lang="it-IT" sz="1200" dirty="0">
                <a:solidFill>
                  <a:schemeClr val="tx1"/>
                </a:solidFill>
              </a:rPr>
              <a:t>e-</a:t>
            </a:r>
            <a:r>
              <a:rPr lang="ro-RO" sz="1200" dirty="0">
                <a:solidFill>
                  <a:schemeClr val="tx1"/>
                </a:solidFill>
              </a:rPr>
              <a:t>Guvernare propune 36 evenimente de viață spre digitalizare</a:t>
            </a:r>
          </a:p>
          <a:p>
            <a:endParaRPr lang="ro-RO" sz="1200" dirty="0">
              <a:solidFill>
                <a:srgbClr val="808080"/>
              </a:solidFill>
            </a:endParaRPr>
          </a:p>
          <a:p>
            <a:endParaRPr lang="en-US" sz="1200" dirty="0">
              <a:solidFill>
                <a:srgbClr val="808080"/>
              </a:solidFill>
            </a:endParaRPr>
          </a:p>
        </p:txBody>
      </p:sp>
      <p:sp>
        <p:nvSpPr>
          <p:cNvPr id="18" name="CasetăText 17">
            <a:extLst>
              <a:ext uri="{FF2B5EF4-FFF2-40B4-BE49-F238E27FC236}">
                <a16:creationId xmlns:a16="http://schemas.microsoft.com/office/drawing/2014/main" id="{3FF5B52A-D162-4274-A34A-8C52FA101354}"/>
              </a:ext>
            </a:extLst>
          </p:cNvPr>
          <p:cNvSpPr txBox="1"/>
          <p:nvPr/>
        </p:nvSpPr>
        <p:spPr>
          <a:xfrm>
            <a:off x="5619380" y="1496526"/>
            <a:ext cx="1739537" cy="1583565"/>
          </a:xfrm>
          <a:prstGeom prst="chevron">
            <a:avLst>
              <a:gd name="adj" fmla="val 16686"/>
            </a:avLst>
          </a:prstGeom>
          <a:solidFill>
            <a:srgbClr val="FFE600"/>
          </a:solidFill>
        </p:spPr>
        <p:txBody>
          <a:bodyPr wrap="square" lIns="91440" tIns="0" rIns="0" bIns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o-RO" sz="1200" dirty="0">
                <a:solidFill>
                  <a:schemeClr val="tx1"/>
                </a:solidFill>
              </a:rPr>
              <a:t>Aplicația IT facilitează măsurarea nivelului de digitalizare al evenimentelor de viață </a:t>
            </a:r>
          </a:p>
          <a:p>
            <a:endParaRPr lang="en-US" sz="1200" dirty="0">
              <a:solidFill>
                <a:srgbClr val="808080"/>
              </a:solidFill>
            </a:endParaRPr>
          </a:p>
        </p:txBody>
      </p:sp>
      <p:sp>
        <p:nvSpPr>
          <p:cNvPr id="23" name="CasetăText 22">
            <a:extLst>
              <a:ext uri="{FF2B5EF4-FFF2-40B4-BE49-F238E27FC236}">
                <a16:creationId xmlns:a16="http://schemas.microsoft.com/office/drawing/2014/main" id="{A87D8887-CD4E-495D-A063-B31472785FF3}"/>
              </a:ext>
            </a:extLst>
          </p:cNvPr>
          <p:cNvSpPr txBox="1"/>
          <p:nvPr/>
        </p:nvSpPr>
        <p:spPr>
          <a:xfrm>
            <a:off x="7187694" y="1496526"/>
            <a:ext cx="1739537" cy="1583565"/>
          </a:xfrm>
          <a:prstGeom prst="chevron">
            <a:avLst>
              <a:gd name="adj" fmla="val 16687"/>
            </a:avLst>
          </a:prstGeom>
          <a:solidFill>
            <a:srgbClr val="FFE600"/>
          </a:solidFill>
        </p:spPr>
        <p:txBody>
          <a:bodyPr wrap="square" lIns="91440" tIns="0" rIns="0" bIns="0" anchor="ctr" anchorCtr="0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bg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ro-RO" sz="1200" dirty="0">
                <a:solidFill>
                  <a:schemeClr val="tx1"/>
                </a:solidFill>
              </a:rPr>
              <a:t>Nivelul de digitalizare </a:t>
            </a:r>
            <a:r>
              <a:rPr lang="it-IT" sz="1200" dirty="0">
                <a:solidFill>
                  <a:schemeClr val="tx1"/>
                </a:solidFill>
              </a:rPr>
              <a:t>al administrației publice din România</a:t>
            </a:r>
            <a:r>
              <a:rPr lang="ro-RO" sz="1200" dirty="0">
                <a:solidFill>
                  <a:schemeClr val="tx1"/>
                </a:solidFill>
              </a:rPr>
              <a:t> aferent 2020</a:t>
            </a:r>
          </a:p>
          <a:p>
            <a:endParaRPr lang="ro-RO" sz="1200" dirty="0">
              <a:solidFill>
                <a:srgbClr val="808080"/>
              </a:solidFill>
            </a:endParaRPr>
          </a:p>
          <a:p>
            <a:endParaRPr lang="en-US" sz="1200" dirty="0">
              <a:solidFill>
                <a:srgbClr val="808080"/>
              </a:solidFill>
            </a:endParaRPr>
          </a:p>
        </p:txBody>
      </p:sp>
      <p:sp>
        <p:nvSpPr>
          <p:cNvPr id="8" name="CasetăText 7">
            <a:extLst>
              <a:ext uri="{FF2B5EF4-FFF2-40B4-BE49-F238E27FC236}">
                <a16:creationId xmlns:a16="http://schemas.microsoft.com/office/drawing/2014/main" id="{FACAA316-6AAA-4530-A5F2-000E44EAEE74}"/>
              </a:ext>
            </a:extLst>
          </p:cNvPr>
          <p:cNvSpPr txBox="1"/>
          <p:nvPr/>
        </p:nvSpPr>
        <p:spPr>
          <a:xfrm>
            <a:off x="2549880" y="1496526"/>
            <a:ext cx="3240723" cy="1583565"/>
          </a:xfrm>
          <a:prstGeom prst="chevron">
            <a:avLst>
              <a:gd name="adj" fmla="val 16058"/>
            </a:avLst>
          </a:prstGeom>
          <a:solidFill>
            <a:srgbClr val="FFE600"/>
          </a:solidFill>
        </p:spPr>
        <p:txBody>
          <a:bodyPr wrap="square" lIns="91440" tIns="0" rIns="0" bIns="0" anchor="ctr" anchorCtr="0">
            <a:noAutofit/>
          </a:bodyPr>
          <a:lstStyle/>
          <a:p>
            <a:r>
              <a:rPr lang="ro-RO" sz="1200" dirty="0"/>
              <a:t>Tabelul de indicatori</a:t>
            </a:r>
            <a:br>
              <a:rPr lang="en-US" sz="1200" dirty="0"/>
            </a:br>
            <a:r>
              <a:rPr lang="ro-RO" sz="1200" dirty="0"/>
              <a:t>monitorizare pentru fiecare eveniment de viață contribuie la creșterea capacității administrative, asigurând atingerea obiectivelor strategice de digitalizare printr-un proces performant și măsurabil</a:t>
            </a:r>
            <a:endParaRPr lang="en-US" sz="1200" dirty="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D144AC9B-9C7C-40F7-9293-DAE4032E443D}"/>
              </a:ext>
            </a:extLst>
          </p:cNvPr>
          <p:cNvSpPr/>
          <p:nvPr/>
        </p:nvSpPr>
        <p:spPr>
          <a:xfrm>
            <a:off x="8927231" y="1193800"/>
            <a:ext cx="2538320" cy="2538320"/>
          </a:xfrm>
          <a:prstGeom prst="ellipse">
            <a:avLst/>
          </a:prstGeom>
          <a:solidFill>
            <a:srgbClr val="0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pic>
        <p:nvPicPr>
          <p:cNvPr id="24" name="Imagine 8">
            <a:extLst>
              <a:ext uri="{FF2B5EF4-FFF2-40B4-BE49-F238E27FC236}">
                <a16:creationId xmlns:a16="http://schemas.microsoft.com/office/drawing/2014/main" id="{0FC28E3E-FC03-420D-88C0-DA9A4067CF8E}"/>
              </a:ext>
            </a:extLst>
          </p:cNvPr>
          <p:cNvPicPr>
            <a:picLocks noChangeAspect="1"/>
          </p:cNvPicPr>
          <p:nvPr/>
        </p:nvPicPr>
        <p:blipFill>
          <a:blip r:embed="rId86">
            <a:clrChange>
              <a:clrFrom>
                <a:srgbClr val="2E2E38"/>
              </a:clrFrom>
              <a:clrTo>
                <a:srgbClr val="2E2E38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859778" y="1182781"/>
            <a:ext cx="2728655" cy="1843294"/>
          </a:xfrm>
          <a:prstGeom prst="rect">
            <a:avLst/>
          </a:prstGeom>
        </p:spPr>
      </p:pic>
      <p:graphicFrame>
        <p:nvGraphicFramePr>
          <p:cNvPr id="566" name="Chart 565">
            <a:extLst>
              <a:ext uri="{FF2B5EF4-FFF2-40B4-BE49-F238E27FC236}">
                <a16:creationId xmlns:a16="http://schemas.microsoft.com/office/drawing/2014/main" id="{78DDD90A-A418-47C2-86B7-D42ABED16D7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1184600"/>
              </p:ext>
            </p:extLst>
          </p:nvPr>
        </p:nvGraphicFramePr>
        <p:xfrm>
          <a:off x="687388" y="3481388"/>
          <a:ext cx="10983912" cy="2216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7"/>
          </a:graphicData>
        </a:graphic>
      </p:graphicFrame>
      <p:sp>
        <p:nvSpPr>
          <p:cNvPr id="452" name="Text Placeholder 2">
            <a:extLst>
              <a:ext uri="{FF2B5EF4-FFF2-40B4-BE49-F238E27FC236}">
                <a16:creationId xmlns:a16="http://schemas.microsoft.com/office/drawing/2014/main" id="{E01E8E70-02BC-4E66-BD4A-B7853CB6055A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639763" y="5145088"/>
            <a:ext cx="635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3336937-2666-480C-A18A-1EEACE7BDEF9}" type="datetime'''''''''''''''''''''2'''''''''''''''''''''''''''''''">
              <a:rPr lang="en-US" altLang="en-US" sz="800" smtClean="0">
                <a:effectLst/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800" dirty="0">
              <a:latin typeface="+mn-lt"/>
            </a:endParaRPr>
          </a:p>
        </p:txBody>
      </p:sp>
      <p:sp>
        <p:nvSpPr>
          <p:cNvPr id="480" name="Text Placeholder 2">
            <a:extLst>
              <a:ext uri="{FF2B5EF4-FFF2-40B4-BE49-F238E27FC236}">
                <a16:creationId xmlns:a16="http://schemas.microsoft.com/office/drawing/2014/main" id="{1245D561-7813-4665-B43F-20EBCF1A836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639763" y="4119563"/>
            <a:ext cx="635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984BE13-8649-4CE2-984E-73E84C96F994}" type="datetime'''''''''''''''''''''''''''''''''''''7'''''''''''''''''">
              <a:rPr lang="en-US" altLang="en-US" sz="800" smtClean="0">
                <a:effectLst/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</a:t>
            </a:fld>
            <a:endParaRPr lang="en-US" sz="800" dirty="0">
              <a:latin typeface="+mn-lt"/>
            </a:endParaRPr>
          </a:p>
        </p:txBody>
      </p:sp>
      <p:sp>
        <p:nvSpPr>
          <p:cNvPr id="481" name="Text Placeholder 2">
            <a:extLst>
              <a:ext uri="{FF2B5EF4-FFF2-40B4-BE49-F238E27FC236}">
                <a16:creationId xmlns:a16="http://schemas.microsoft.com/office/drawing/2014/main" id="{FFF2A250-FF66-4BAA-9EC9-0647C0D3809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39763" y="3708400"/>
            <a:ext cx="635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628A16C-02B9-48ED-A92B-8A230117CE9C}" type="datetime'''''''''''''9'''''''''''''''''''''''''''''''''''''">
              <a:rPr lang="en-US" altLang="en-US" sz="800" smtClean="0">
                <a:effectLst/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</a:t>
            </a:fld>
            <a:endParaRPr lang="en-US" sz="800" dirty="0">
              <a:latin typeface="+mn-lt"/>
            </a:endParaRPr>
          </a:p>
        </p:txBody>
      </p:sp>
      <p:sp>
        <p:nvSpPr>
          <p:cNvPr id="451" name="Text Placeholder 2">
            <a:extLst>
              <a:ext uri="{FF2B5EF4-FFF2-40B4-BE49-F238E27FC236}">
                <a16:creationId xmlns:a16="http://schemas.microsoft.com/office/drawing/2014/main" id="{D0AD6A74-3A55-4B6F-BC68-EE097B92C55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39763" y="5554663"/>
            <a:ext cx="635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81AB546-88C1-4A9C-A882-BAF728397FAE}" type="datetime'0'''''''''''''''''''''''''''''''''''''''''''''">
              <a:rPr lang="en-US" altLang="en-US" sz="800" smtClean="0">
                <a:effectLst/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800" dirty="0">
              <a:latin typeface="+mn-lt"/>
            </a:endParaRPr>
          </a:p>
        </p:txBody>
      </p:sp>
      <p:sp>
        <p:nvSpPr>
          <p:cNvPr id="453" name="Text Placeholder 2">
            <a:extLst>
              <a:ext uri="{FF2B5EF4-FFF2-40B4-BE49-F238E27FC236}">
                <a16:creationId xmlns:a16="http://schemas.microsoft.com/office/drawing/2014/main" id="{AF675D5B-6128-4C9A-B439-57DAF2AA7F7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39763" y="4733925"/>
            <a:ext cx="635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9BEEFFC-641A-45C4-BB9E-21B5AEB77BBA}" type="datetime'''4'''''''''">
              <a:rPr lang="en-US" altLang="en-US" sz="800" smtClean="0">
                <a:effectLst/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US" sz="800" dirty="0">
              <a:latin typeface="+mn-lt"/>
            </a:endParaRPr>
          </a:p>
        </p:txBody>
      </p:sp>
      <p:sp>
        <p:nvSpPr>
          <p:cNvPr id="454" name="Text Placeholder 2">
            <a:extLst>
              <a:ext uri="{FF2B5EF4-FFF2-40B4-BE49-F238E27FC236}">
                <a16:creationId xmlns:a16="http://schemas.microsoft.com/office/drawing/2014/main" id="{B6E7A2C5-4846-49EC-A371-ADEFEA27BC8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39763" y="4324350"/>
            <a:ext cx="635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0080F9A-2A89-40B5-B456-55E0E1905A5B}" type="datetime'''6'''''">
              <a:rPr lang="en-US" altLang="en-US" sz="800" smtClean="0">
                <a:effectLst/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US" sz="800" dirty="0">
              <a:latin typeface="+mn-lt"/>
            </a:endParaRPr>
          </a:p>
        </p:txBody>
      </p:sp>
      <p:sp>
        <p:nvSpPr>
          <p:cNvPr id="455" name="Text Placeholder 2">
            <a:extLst>
              <a:ext uri="{FF2B5EF4-FFF2-40B4-BE49-F238E27FC236}">
                <a16:creationId xmlns:a16="http://schemas.microsoft.com/office/drawing/2014/main" id="{BE4E6AE1-5CCE-4141-8642-B40EAFB9E82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39763" y="3913188"/>
            <a:ext cx="635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2B0366D-9EA5-42EC-904B-02FFCA0F77FF}" type="datetime'''''''''''8'''''''''''''''''''''''''''''">
              <a:rPr lang="en-US" altLang="en-US" sz="800" smtClean="0">
                <a:effectLst/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en-US" sz="800" dirty="0">
              <a:latin typeface="+mn-lt"/>
            </a:endParaRPr>
          </a:p>
        </p:txBody>
      </p:sp>
      <p:sp>
        <p:nvSpPr>
          <p:cNvPr id="456" name="Text Placeholder 2">
            <a:extLst>
              <a:ext uri="{FF2B5EF4-FFF2-40B4-BE49-F238E27FC236}">
                <a16:creationId xmlns:a16="http://schemas.microsoft.com/office/drawing/2014/main" id="{F758A096-59D1-4C24-8271-DFB1BE4223B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76263" y="3503613"/>
            <a:ext cx="1270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B736132-23CC-492D-95A6-799E5A28D69F}" type="datetime'''''''''''''''''''''''''''''''''''''''''''''10'">
              <a:rPr lang="en-US" altLang="en-US" sz="800" smtClean="0">
                <a:effectLst/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US" sz="800" dirty="0">
              <a:latin typeface="+mn-lt"/>
            </a:endParaRPr>
          </a:p>
        </p:txBody>
      </p:sp>
      <p:sp>
        <p:nvSpPr>
          <p:cNvPr id="477" name="Text Placeholder 2">
            <a:extLst>
              <a:ext uri="{FF2B5EF4-FFF2-40B4-BE49-F238E27FC236}">
                <a16:creationId xmlns:a16="http://schemas.microsoft.com/office/drawing/2014/main" id="{0DE18989-D0A3-4A27-A490-8D64BD57D5E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39763" y="5349875"/>
            <a:ext cx="635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554B3F3-8AB9-42CC-AC44-4252C8B12B78}" type="datetime'''1'''''''''''''''''''''''''''''''''''''''''''''''''''''''''''">
              <a:rPr lang="en-US" altLang="en-US" sz="800" smtClean="0">
                <a:effectLst/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800" dirty="0">
              <a:latin typeface="+mn-lt"/>
            </a:endParaRPr>
          </a:p>
        </p:txBody>
      </p:sp>
      <p:sp>
        <p:nvSpPr>
          <p:cNvPr id="478" name="Text Placeholder 2">
            <a:extLst>
              <a:ext uri="{FF2B5EF4-FFF2-40B4-BE49-F238E27FC236}">
                <a16:creationId xmlns:a16="http://schemas.microsoft.com/office/drawing/2014/main" id="{5EA40781-5901-444B-AF81-7DF3DF529D2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39763" y="4938713"/>
            <a:ext cx="635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AA09A4E-6CB8-432C-AC87-50E3959D5BAA}" type="datetime'''''''''''''''''''''''''''''''''''''''''''''''3'''''">
              <a:rPr lang="en-US" altLang="en-US" sz="800" smtClean="0">
                <a:effectLst/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US" sz="800" dirty="0">
              <a:latin typeface="+mn-lt"/>
            </a:endParaRPr>
          </a:p>
        </p:txBody>
      </p:sp>
      <p:sp>
        <p:nvSpPr>
          <p:cNvPr id="479" name="Text Placeholder 2">
            <a:extLst>
              <a:ext uri="{FF2B5EF4-FFF2-40B4-BE49-F238E27FC236}">
                <a16:creationId xmlns:a16="http://schemas.microsoft.com/office/drawing/2014/main" id="{2D498326-60E7-4C39-8C44-3D2A64C67EE3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39763" y="4529138"/>
            <a:ext cx="63500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D528186-1863-418D-B1DD-34A872E70BB5}" type="datetime'''5'''''''''''''''''''''''''''''''''''''''''''''''''''''''''">
              <a:rPr lang="en-US" altLang="en-US" sz="800" smtClean="0">
                <a:effectLst/>
                <a:latin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US" sz="800" dirty="0">
              <a:latin typeface="+mn-lt"/>
            </a:endParaRPr>
          </a:p>
        </p:txBody>
      </p:sp>
      <p:sp>
        <p:nvSpPr>
          <p:cNvPr id="361" name="Text Placeholder 2">
            <a:extLst>
              <a:ext uri="{FF2B5EF4-FFF2-40B4-BE49-F238E27FC236}">
                <a16:creationId xmlns:a16="http://schemas.microsoft.com/office/drawing/2014/main" id="{A4A63925-897E-4718-9DA7-CCA71EF97AB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3140075" y="5657850"/>
            <a:ext cx="3302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0F7E88A-F473-4E3F-A581-05BFD65DD02B}" type="datetime'''''''''''E''V''''''''''''''''''''''36'''''''''''">
              <a:rPr lang="en-US" altLang="en-US" sz="1000" smtClean="0">
                <a:latin typeface="+mn-lt"/>
              </a:rPr>
              <a:pPr/>
              <a:t>EV36</a:t>
            </a:fld>
            <a:endParaRPr lang="en-US" sz="1000" dirty="0">
              <a:latin typeface="+mn-lt"/>
            </a:endParaRPr>
          </a:p>
        </p:txBody>
      </p:sp>
      <p:sp>
        <p:nvSpPr>
          <p:cNvPr id="358" name="Text Placeholder 2">
            <a:extLst>
              <a:ext uri="{FF2B5EF4-FFF2-40B4-BE49-F238E27FC236}">
                <a16:creationId xmlns:a16="http://schemas.microsoft.com/office/drawing/2014/main" id="{2DB9F9F9-1D2D-4D24-BB6C-ED7EDF1E3A1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801938" y="5657850"/>
            <a:ext cx="3302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FB79E1-F242-4F3F-8502-EF122103670F}" type="datetime'''''''''''E''''''''''''''''V''''''''3''1'''''''''''''''''''''">
              <a:rPr lang="en-US" altLang="en-US" sz="1000" smtClean="0">
                <a:latin typeface="+mn-lt"/>
              </a:rPr>
              <a:pPr/>
              <a:t>EV31</a:t>
            </a:fld>
            <a:endParaRPr lang="en-US" sz="1000" dirty="0">
              <a:latin typeface="+mn-lt"/>
            </a:endParaRPr>
          </a:p>
        </p:txBody>
      </p:sp>
      <p:sp>
        <p:nvSpPr>
          <p:cNvPr id="364" name="Text Placeholder 2">
            <a:extLst>
              <a:ext uri="{FF2B5EF4-FFF2-40B4-BE49-F238E27FC236}">
                <a16:creationId xmlns:a16="http://schemas.microsoft.com/office/drawing/2014/main" id="{A382CF0C-3D34-4FC8-B9D8-72FA4D1FA822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517900" y="5657850"/>
            <a:ext cx="250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9B5C90-7C1F-4269-8FDF-83E2DC40B849}" type="datetime'''''E''''''''''V1'''''''''''''''''''''''''">
              <a:rPr lang="en-US" altLang="en-US" sz="1000" smtClean="0">
                <a:latin typeface="+mn-lt"/>
              </a:rPr>
              <a:pPr/>
              <a:t>EV1</a:t>
            </a:fld>
            <a:endParaRPr lang="en-US" sz="1000" dirty="0">
              <a:latin typeface="+mn-lt"/>
            </a:endParaRPr>
          </a:p>
        </p:txBody>
      </p:sp>
      <p:sp>
        <p:nvSpPr>
          <p:cNvPr id="367" name="Text Placeholder 2">
            <a:extLst>
              <a:ext uri="{FF2B5EF4-FFF2-40B4-BE49-F238E27FC236}">
                <a16:creationId xmlns:a16="http://schemas.microsoft.com/office/drawing/2014/main" id="{33A30FC4-35D4-476F-8A56-C89565329F2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856038" y="5657850"/>
            <a:ext cx="250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C3C3F27-F378-42D1-866B-243DFFE46D6C}" type="datetime'''''E''''''''''''''''''V''''''''''''3'''''''''''''''''''''">
              <a:rPr lang="en-US" altLang="en-US" sz="1000" smtClean="0">
                <a:latin typeface="+mn-lt"/>
              </a:rPr>
              <a:pPr/>
              <a:t>EV3</a:t>
            </a:fld>
            <a:endParaRPr lang="en-US" sz="1000" dirty="0">
              <a:latin typeface="+mn-lt"/>
            </a:endParaRPr>
          </a:p>
        </p:txBody>
      </p:sp>
      <p:sp>
        <p:nvSpPr>
          <p:cNvPr id="415" name="Text Placeholder 2">
            <a:extLst>
              <a:ext uri="{FF2B5EF4-FFF2-40B4-BE49-F238E27FC236}">
                <a16:creationId xmlns:a16="http://schemas.microsoft.com/office/drawing/2014/main" id="{4B4323EF-3094-46DE-AE7D-7648FFBA74D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9224963" y="5657850"/>
            <a:ext cx="3302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6B3C0E-1FE2-475E-943A-89B481C05AFA}" type="datetime'''''''''''E''V''''''''''''26'''''''''''''''''''''''''">
              <a:rPr lang="en-US" altLang="en-US" sz="1000" smtClean="0">
                <a:latin typeface="+mn-lt"/>
              </a:rPr>
              <a:pPr/>
              <a:t>EV26</a:t>
            </a:fld>
            <a:endParaRPr lang="en-US" sz="1000" dirty="0">
              <a:latin typeface="+mn-lt"/>
            </a:endParaRPr>
          </a:p>
        </p:txBody>
      </p:sp>
      <p:sp>
        <p:nvSpPr>
          <p:cNvPr id="373" name="Text Placeholder 2">
            <a:extLst>
              <a:ext uri="{FF2B5EF4-FFF2-40B4-BE49-F238E27FC236}">
                <a16:creationId xmlns:a16="http://schemas.microsoft.com/office/drawing/2014/main" id="{1984E465-6103-4E03-99CA-EF00D433AD3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492625" y="5657850"/>
            <a:ext cx="3302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7793D1-1FCE-4AE8-BE89-8976405C817A}" type="datetime'''''E''''''''''''''''''''''''''''''''''''V''''''1''''0'''''''">
              <a:rPr lang="en-US" altLang="en-US" sz="1000" smtClean="0">
                <a:latin typeface="+mn-lt"/>
              </a:rPr>
              <a:pPr/>
              <a:t>EV10</a:t>
            </a:fld>
            <a:endParaRPr lang="en-US" sz="1000" dirty="0">
              <a:latin typeface="+mn-lt"/>
            </a:endParaRPr>
          </a:p>
        </p:txBody>
      </p:sp>
      <p:sp>
        <p:nvSpPr>
          <p:cNvPr id="376" name="Text Placeholder 2">
            <a:extLst>
              <a:ext uri="{FF2B5EF4-FFF2-40B4-BE49-F238E27FC236}">
                <a16:creationId xmlns:a16="http://schemas.microsoft.com/office/drawing/2014/main" id="{5BD6B45D-F773-4BAF-B8EF-DB83CDF0618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4870450" y="5657850"/>
            <a:ext cx="250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3D3AA4-007B-40D3-8E68-CB1F7430BB30}" type="datetime'''''''''''E''''''''''V''''7'">
              <a:rPr lang="en-US" altLang="en-US" sz="1000" smtClean="0">
                <a:latin typeface="+mn-lt"/>
              </a:rPr>
              <a:pPr/>
              <a:t>EV7</a:t>
            </a:fld>
            <a:endParaRPr lang="en-US" sz="1000" dirty="0">
              <a:latin typeface="+mn-lt"/>
            </a:endParaRPr>
          </a:p>
        </p:txBody>
      </p:sp>
      <p:sp>
        <p:nvSpPr>
          <p:cNvPr id="433" name="Text Placeholder 2">
            <a:extLst>
              <a:ext uri="{FF2B5EF4-FFF2-40B4-BE49-F238E27FC236}">
                <a16:creationId xmlns:a16="http://schemas.microsoft.com/office/drawing/2014/main" id="{8940618E-49B7-4E57-B13F-1012443708CC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1293475" y="5657850"/>
            <a:ext cx="250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2C6BD59-BD97-4954-81D3-2FBCCA3A7D32}" type="datetime'E''V''''''''''''''''''''''''9'''''''''''''''''''''''''''''">
              <a:rPr lang="en-US" altLang="en-US" sz="1000" smtClean="0">
                <a:latin typeface="+mn-lt"/>
              </a:rPr>
              <a:pPr/>
              <a:t>EV9</a:t>
            </a:fld>
            <a:endParaRPr lang="en-US" sz="1000" dirty="0">
              <a:latin typeface="+mn-lt"/>
            </a:endParaRPr>
          </a:p>
        </p:txBody>
      </p:sp>
      <p:sp>
        <p:nvSpPr>
          <p:cNvPr id="379" name="Text Placeholder 2">
            <a:extLst>
              <a:ext uri="{FF2B5EF4-FFF2-40B4-BE49-F238E27FC236}">
                <a16:creationId xmlns:a16="http://schemas.microsoft.com/office/drawing/2014/main" id="{332523EE-DEDB-475F-9035-032B68671C1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168900" y="5657850"/>
            <a:ext cx="3302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1B3511-1480-412F-8E74-47980804A549}" type="datetime'E''''''V''''''''''''''''''''''''''''2''0'">
              <a:rPr lang="en-US" altLang="en-US" sz="1000" smtClean="0">
                <a:latin typeface="+mn-lt"/>
              </a:rPr>
              <a:pPr/>
              <a:t>EV20</a:t>
            </a:fld>
            <a:endParaRPr lang="en-US" sz="1000" dirty="0">
              <a:latin typeface="+mn-lt"/>
            </a:endParaRPr>
          </a:p>
        </p:txBody>
      </p:sp>
      <p:sp>
        <p:nvSpPr>
          <p:cNvPr id="427" name="Text Placeholder 2">
            <a:extLst>
              <a:ext uri="{FF2B5EF4-FFF2-40B4-BE49-F238E27FC236}">
                <a16:creationId xmlns:a16="http://schemas.microsoft.com/office/drawing/2014/main" id="{D5DD88FC-DAB8-46B3-9087-D035E669C6F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0577513" y="5657850"/>
            <a:ext cx="3302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75536E-3767-4172-AEA7-D6A4300AB57B}" type="datetime'''''EV''''''''''''''''''32'''''''''''''">
              <a:rPr lang="en-US" altLang="en-US" sz="1000" smtClean="0">
                <a:latin typeface="+mn-lt"/>
              </a:rPr>
              <a:pPr/>
              <a:t>EV32</a:t>
            </a:fld>
            <a:endParaRPr lang="en-US" sz="1000" dirty="0">
              <a:latin typeface="+mn-lt"/>
            </a:endParaRPr>
          </a:p>
        </p:txBody>
      </p:sp>
      <p:sp>
        <p:nvSpPr>
          <p:cNvPr id="400" name="Text Placeholder 2">
            <a:extLst>
              <a:ext uri="{FF2B5EF4-FFF2-40B4-BE49-F238E27FC236}">
                <a16:creationId xmlns:a16="http://schemas.microsoft.com/office/drawing/2014/main" id="{D76C50EE-5417-410A-AE16-E13700946423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534275" y="5657850"/>
            <a:ext cx="3302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0C9C899-FC4E-4502-A845-0A6C33A8FC6C}" type="datetime'E''V''''''''''''''''''''''''''17'''''''''''''''''''''''">
              <a:rPr lang="en-US" altLang="en-US" sz="1000" smtClean="0">
                <a:latin typeface="+mn-lt"/>
              </a:rPr>
              <a:pPr/>
              <a:t>EV17</a:t>
            </a:fld>
            <a:endParaRPr lang="en-US" sz="1000" dirty="0">
              <a:latin typeface="+mn-lt"/>
            </a:endParaRPr>
          </a:p>
        </p:txBody>
      </p:sp>
      <p:sp>
        <p:nvSpPr>
          <p:cNvPr id="382" name="Text Placeholder 2">
            <a:extLst>
              <a:ext uri="{FF2B5EF4-FFF2-40B4-BE49-F238E27FC236}">
                <a16:creationId xmlns:a16="http://schemas.microsoft.com/office/drawing/2014/main" id="{4BCCD33E-7A1F-4D3E-854A-30624E1BE5D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546725" y="5657850"/>
            <a:ext cx="250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4AC094-BD50-4DB4-866A-55D2AF2BB8F8}" type="datetime'''''E''''''''''''''''''''''''''''''''V''6'''''''''''''">
              <a:rPr lang="en-US" altLang="en-US" sz="1000" smtClean="0">
                <a:latin typeface="+mn-lt"/>
              </a:rPr>
              <a:pPr/>
              <a:t>EV6</a:t>
            </a:fld>
            <a:endParaRPr lang="en-US" sz="1000" dirty="0">
              <a:latin typeface="+mn-lt"/>
            </a:endParaRPr>
          </a:p>
        </p:txBody>
      </p:sp>
      <p:sp>
        <p:nvSpPr>
          <p:cNvPr id="424" name="Text Placeholder 2">
            <a:extLst>
              <a:ext uri="{FF2B5EF4-FFF2-40B4-BE49-F238E27FC236}">
                <a16:creationId xmlns:a16="http://schemas.microsoft.com/office/drawing/2014/main" id="{70A45A6C-32BF-478B-9C82-1DB58391247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0239375" y="5657850"/>
            <a:ext cx="3302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FCE33D-2295-428C-BD9C-A9FF4A8F4E52}" type="datetime'''''E''''''V''''2''''''''''''''''''''''''''''''9'''''''">
              <a:rPr lang="en-US" altLang="en-US" sz="1000" smtClean="0">
                <a:latin typeface="+mn-lt"/>
              </a:rPr>
              <a:pPr/>
              <a:t>EV29</a:t>
            </a:fld>
            <a:endParaRPr lang="en-US" sz="1000" dirty="0">
              <a:latin typeface="+mn-lt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0F314C07-6D2C-4B64-9096-BE4770C5C79B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544638" y="4586288"/>
            <a:ext cx="13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1181D0-BDE3-4FE3-A57D-6298BCB0DF2D}" type="datetime'''''''''''''''''''''4'''''''''">
              <a:rPr lang="en-US" altLang="en-US" sz="1200" b="1" smtClean="0">
                <a:latin typeface="+mn-lt"/>
              </a:rPr>
              <a:pPr/>
              <a:t>4</a:t>
            </a:fld>
            <a:endParaRPr lang="en-US" sz="1200" b="1" dirty="0">
              <a:latin typeface="+mn-lt"/>
            </a:endParaRPr>
          </a:p>
        </p:txBody>
      </p:sp>
      <p:sp>
        <p:nvSpPr>
          <p:cNvPr id="385" name="Text Placeholder 2">
            <a:extLst>
              <a:ext uri="{FF2B5EF4-FFF2-40B4-BE49-F238E27FC236}">
                <a16:creationId xmlns:a16="http://schemas.microsoft.com/office/drawing/2014/main" id="{ED89EAE4-D15D-46A1-874B-1AFC82B233D9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5884863" y="5657850"/>
            <a:ext cx="250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9E47E5-7ECE-49BE-A4FB-EC16B8C7ACE4}" type="datetime'''''''E''''''''''''''''''''''''''V''''''''''''2'''''''''">
              <a:rPr lang="en-US" altLang="en-US" sz="1000" smtClean="0">
                <a:latin typeface="+mn-lt"/>
              </a:rPr>
              <a:pPr/>
              <a:t>EV2</a:t>
            </a:fld>
            <a:endParaRPr lang="en-US" sz="1000" dirty="0">
              <a:latin typeface="+mn-lt"/>
            </a:endParaRPr>
          </a:p>
        </p:txBody>
      </p:sp>
      <p:sp>
        <p:nvSpPr>
          <p:cNvPr id="102" name="Text Placeholder 2">
            <a:extLst>
              <a:ext uri="{FF2B5EF4-FFF2-40B4-BE49-F238E27FC236}">
                <a16:creationId xmlns:a16="http://schemas.microsoft.com/office/drawing/2014/main" id="{36E143C0-C791-4493-917D-70B2E916DC4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897188" y="4997450"/>
            <a:ext cx="13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CFA5CE0-76D7-4D5B-8202-5D25C677E129}" type="datetime'''2'''''''''''''''''''''''''''''''''''''''''">
              <a:rPr lang="en-US" altLang="en-US" sz="1200" b="1" smtClean="0">
                <a:latin typeface="+mn-lt"/>
              </a:rPr>
              <a:pPr/>
              <a:t>2</a:t>
            </a:fld>
            <a:endParaRPr lang="en-US" sz="1200" b="1" dirty="0">
              <a:latin typeface="+mn-lt"/>
            </a:endParaRPr>
          </a:p>
        </p:txBody>
      </p:sp>
      <p:sp>
        <p:nvSpPr>
          <p:cNvPr id="391" name="Text Placeholder 2">
            <a:extLst>
              <a:ext uri="{FF2B5EF4-FFF2-40B4-BE49-F238E27FC236}">
                <a16:creationId xmlns:a16="http://schemas.microsoft.com/office/drawing/2014/main" id="{B80CDE81-2158-43FE-AF71-8D7703E2B523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6519863" y="5657850"/>
            <a:ext cx="3302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299F77-EA20-4C37-871B-AC09033A084C}" type="datetime'''''''''''E''''''''''''''''V''1''''''4'''''''''''''''">
              <a:rPr lang="en-US" altLang="en-US" sz="1000" smtClean="0">
                <a:latin typeface="+mn-lt"/>
              </a:rPr>
              <a:pPr/>
              <a:t>EV14</a:t>
            </a:fld>
            <a:endParaRPr lang="en-US" sz="1000" dirty="0">
              <a:latin typeface="+mn-lt"/>
            </a:endParaRPr>
          </a:p>
        </p:txBody>
      </p:sp>
      <p:sp>
        <p:nvSpPr>
          <p:cNvPr id="394" name="Text Placeholder 2">
            <a:extLst>
              <a:ext uri="{FF2B5EF4-FFF2-40B4-BE49-F238E27FC236}">
                <a16:creationId xmlns:a16="http://schemas.microsoft.com/office/drawing/2014/main" id="{5798DD3A-0C6F-4A57-8B89-A5FC3D5809D8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6818313" y="5657850"/>
            <a:ext cx="4095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BD10F63-DCE1-43D3-961A-C8E4E1534F51}" type="datetime'''E''''V15B'''''''''''''''''''''''">
              <a:rPr lang="en-US" altLang="en-US" sz="1000" smtClean="0">
                <a:latin typeface="+mn-lt"/>
              </a:rPr>
              <a:pPr/>
              <a:t>EV15B</a:t>
            </a:fld>
            <a:endParaRPr lang="en-US" sz="1000" dirty="0">
              <a:latin typeface="+mn-lt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FAC3464E-2B84-4AC6-B28D-92D853B03DE8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868363" y="3971925"/>
            <a:ext cx="13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030403-C699-4069-BFB9-C76377FA9713}" type="datetime'''''''7'''''''''''''''''''''''''''''''''''''''''">
              <a:rPr lang="en-US" altLang="en-US" sz="1200" b="1" smtClean="0">
                <a:latin typeface="+mn-lt"/>
              </a:rPr>
              <a:pPr/>
              <a:t>7</a:t>
            </a:fld>
            <a:endParaRPr lang="en-US" sz="1200" b="1" dirty="0">
              <a:latin typeface="+mn-lt"/>
            </a:endParaRPr>
          </a:p>
        </p:txBody>
      </p:sp>
      <p:sp>
        <p:nvSpPr>
          <p:cNvPr id="397" name="Text Placeholder 2">
            <a:extLst>
              <a:ext uri="{FF2B5EF4-FFF2-40B4-BE49-F238E27FC236}">
                <a16:creationId xmlns:a16="http://schemas.microsoft.com/office/drawing/2014/main" id="{EAD47EDF-04B1-4F26-8B6F-32A20F3CB0C6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196138" y="5657850"/>
            <a:ext cx="3302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F32B30C-D16F-4E4C-995F-7DF8C1C2FBE8}" type="datetime'''''''''''E''''''''V''''''''1''''''''''''''6'">
              <a:rPr lang="en-US" altLang="en-US" sz="1000" smtClean="0">
                <a:latin typeface="+mn-lt"/>
              </a:rPr>
              <a:pPr/>
              <a:t>EV16</a:t>
            </a:fld>
            <a:endParaRPr lang="en-US" sz="1000" dirty="0">
              <a:latin typeface="+mn-lt"/>
            </a:endParaRPr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761869E5-BBB3-44EC-807E-BF41A65260F4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2559050" y="4997450"/>
            <a:ext cx="13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1ECFA7-6E76-4912-9D5E-F98DC4D663F4}" type="datetime'''''''''''''''''2'''''''''''''''''''''''''''''''''''''''''''''">
              <a:rPr lang="en-US" altLang="en-US" sz="1200" b="1" smtClean="0">
                <a:latin typeface="+mn-lt"/>
              </a:rPr>
              <a:pPr/>
              <a:t>2</a:t>
            </a:fld>
            <a:endParaRPr lang="en-US" sz="1200" b="1" dirty="0">
              <a:latin typeface="+mn-lt"/>
            </a:endParaRPr>
          </a:p>
        </p:txBody>
      </p:sp>
      <p:sp>
        <p:nvSpPr>
          <p:cNvPr id="403" name="Text Placeholder 2">
            <a:extLst>
              <a:ext uri="{FF2B5EF4-FFF2-40B4-BE49-F238E27FC236}">
                <a16:creationId xmlns:a16="http://schemas.microsoft.com/office/drawing/2014/main" id="{79B06F5F-A3E7-47D1-8656-669CA96AC4A4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872413" y="5657850"/>
            <a:ext cx="3302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744D882-8F3B-41CB-AB16-1171060B0E2D}" type="datetime'''''''E''''''''''V2''''''''''''1'">
              <a:rPr lang="en-US" altLang="en-US" sz="1000" smtClean="0">
                <a:latin typeface="+mn-lt"/>
              </a:rPr>
              <a:pPr/>
              <a:t>EV21</a:t>
            </a:fld>
            <a:endParaRPr lang="en-US" sz="1000" dirty="0">
              <a:latin typeface="+mn-lt"/>
            </a:endParaRPr>
          </a:p>
        </p:txBody>
      </p:sp>
      <p:sp>
        <p:nvSpPr>
          <p:cNvPr id="409" name="Text Placeholder 2">
            <a:extLst>
              <a:ext uri="{FF2B5EF4-FFF2-40B4-BE49-F238E27FC236}">
                <a16:creationId xmlns:a16="http://schemas.microsoft.com/office/drawing/2014/main" id="{60483E20-BE41-49B7-90BF-9BAF7574EFE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8548688" y="5657850"/>
            <a:ext cx="3302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12DE36-75E2-495E-83DC-B57643487DC8}" type="datetime'''''''''''''''''''''''''''''E''''''''''V''2''''4'''''''''''''">
              <a:rPr lang="en-US" altLang="en-US" sz="1000" smtClean="0">
                <a:latin typeface="+mn-lt"/>
              </a:rPr>
              <a:pPr/>
              <a:t>EV24</a:t>
            </a:fld>
            <a:endParaRPr lang="en-US" sz="1000" dirty="0">
              <a:latin typeface="+mn-lt"/>
            </a:endParaRPr>
          </a:p>
        </p:txBody>
      </p:sp>
      <p:sp>
        <p:nvSpPr>
          <p:cNvPr id="412" name="Text Placeholder 2">
            <a:extLst>
              <a:ext uri="{FF2B5EF4-FFF2-40B4-BE49-F238E27FC236}">
                <a16:creationId xmlns:a16="http://schemas.microsoft.com/office/drawing/2014/main" id="{C98CDCB9-EC4D-43A5-ADB7-35ABA4515D25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8886825" y="5657850"/>
            <a:ext cx="3302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12E7EB-30A4-4D8A-BEBA-F9EB999A0800}" type="datetime'''''E''''V''''2''''''''''''''''5'''">
              <a:rPr lang="en-US" altLang="en-US" sz="1000" smtClean="0">
                <a:latin typeface="+mn-lt"/>
              </a:rPr>
              <a:pPr/>
              <a:t>EV25</a:t>
            </a:fld>
            <a:endParaRPr lang="en-US" sz="1000" dirty="0">
              <a:latin typeface="+mn-lt"/>
            </a:endParaRPr>
          </a:p>
        </p:txBody>
      </p:sp>
      <p:sp>
        <p:nvSpPr>
          <p:cNvPr id="418" name="Text Placeholder 2">
            <a:extLst>
              <a:ext uri="{FF2B5EF4-FFF2-40B4-BE49-F238E27FC236}">
                <a16:creationId xmlns:a16="http://schemas.microsoft.com/office/drawing/2014/main" id="{537E588A-8C36-4F2F-A37C-2680C16C718A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9563100" y="5657850"/>
            <a:ext cx="3302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98F499-A14A-464F-8233-2EBF3120DED7}" type="datetime'E''''''V''2''''''''''''7'">
              <a:rPr lang="en-US" altLang="en-US" sz="1000" smtClean="0">
                <a:latin typeface="+mn-lt"/>
              </a:rPr>
              <a:pPr/>
              <a:t>EV27</a:t>
            </a:fld>
            <a:endParaRPr lang="en-US" sz="1000" dirty="0">
              <a:latin typeface="+mn-lt"/>
            </a:endParaRPr>
          </a:p>
        </p:txBody>
      </p:sp>
      <p:sp>
        <p:nvSpPr>
          <p:cNvPr id="421" name="Text Placeholder 2">
            <a:extLst>
              <a:ext uri="{FF2B5EF4-FFF2-40B4-BE49-F238E27FC236}">
                <a16:creationId xmlns:a16="http://schemas.microsoft.com/office/drawing/2014/main" id="{A6494CC5-6B7C-4B8A-A236-9C57AE45692D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9901238" y="5657850"/>
            <a:ext cx="3302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3EAD70-C5FC-454F-979B-B591124D6F63}" type="datetime'''''''''''''''''''''E''V''2''''''''''8'">
              <a:rPr lang="en-US" altLang="en-US" sz="1000" smtClean="0">
                <a:latin typeface="+mn-lt"/>
              </a:rPr>
              <a:pPr/>
              <a:t>EV28</a:t>
            </a:fld>
            <a:endParaRPr lang="en-US" sz="1000" dirty="0">
              <a:latin typeface="+mn-lt"/>
            </a:endParaRPr>
          </a:p>
        </p:txBody>
      </p:sp>
      <p:sp>
        <p:nvSpPr>
          <p:cNvPr id="430" name="Text Placeholder 2">
            <a:extLst>
              <a:ext uri="{FF2B5EF4-FFF2-40B4-BE49-F238E27FC236}">
                <a16:creationId xmlns:a16="http://schemas.microsoft.com/office/drawing/2014/main" id="{1B46EC89-652F-4E19-A910-CDFA721765EE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0915650" y="5657850"/>
            <a:ext cx="3302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ABE2A3-4C2F-4D10-9186-59DEAC50D6EB}" type="datetime'''''''''E''''''''''''''V35'''''''''''''''''''''''''''''''''''">
              <a:rPr lang="en-US" altLang="en-US" sz="1000" smtClean="0">
                <a:latin typeface="+mn-lt"/>
              </a:rPr>
              <a:pPr/>
              <a:t>EV35</a:t>
            </a:fld>
            <a:endParaRPr lang="en-US" sz="1000" dirty="0">
              <a:latin typeface="+mn-lt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6F06F04F-B768-454B-A672-755589C2F3BC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1882775" y="4791075"/>
            <a:ext cx="13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B084E5-F6C1-431A-BBDA-87B21E8144F2}" type="datetime'''''''''''''''''''''''''''''''''''''''''''''3'''''''''''''''''">
              <a:rPr lang="en-US" altLang="en-US" sz="1200" b="1" smtClean="0">
                <a:latin typeface="+mn-lt"/>
              </a:rPr>
              <a:pPr/>
              <a:t>3</a:t>
            </a:fld>
            <a:endParaRPr lang="en-US" sz="1200" b="1" dirty="0">
              <a:latin typeface="+mn-lt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7A74F7FE-9A56-474F-AC2B-93E575434818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1206500" y="4791075"/>
            <a:ext cx="13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6B2E83-8BBB-4CF7-9EA3-CCA2D7073426}" type="datetime'''''''''''''''3'''''''''''''''''''''''''''''''''''''''''''''">
              <a:rPr lang="en-US" altLang="en-US" sz="1200" b="1" smtClean="0">
                <a:latin typeface="+mn-lt"/>
              </a:rPr>
              <a:pPr/>
              <a:t>3</a:t>
            </a:fld>
            <a:endParaRPr lang="en-US" sz="1200" b="1" dirty="0">
              <a:latin typeface="+mn-lt"/>
            </a:endParaRPr>
          </a:p>
        </p:txBody>
      </p:sp>
      <p:sp>
        <p:nvSpPr>
          <p:cNvPr id="262" name="Text Placeholder 2">
            <a:extLst>
              <a:ext uri="{FF2B5EF4-FFF2-40B4-BE49-F238E27FC236}">
                <a16:creationId xmlns:a16="http://schemas.microsoft.com/office/drawing/2014/main" id="{4EF134C1-729F-4416-990E-82E833D8E310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11010900" y="4381500"/>
            <a:ext cx="13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EB6ED2-68F4-4035-9E71-7A3BEB068160}" type="datetime'''''''''''''''''5'''''''''''''''''''''''''''''''''''''">
              <a:rPr lang="en-US" altLang="en-US" sz="1200" b="1" smtClean="0">
                <a:latin typeface="+mn-lt"/>
              </a:rPr>
              <a:pPr/>
              <a:t>5</a:t>
            </a:fld>
            <a:endParaRPr lang="en-US" sz="1200" b="1" dirty="0">
              <a:latin typeface="+mn-lt"/>
            </a:endParaRPr>
          </a:p>
        </p:txBody>
      </p:sp>
      <p:sp>
        <p:nvSpPr>
          <p:cNvPr id="86" name="Text Placeholder 2">
            <a:extLst>
              <a:ext uri="{FF2B5EF4-FFF2-40B4-BE49-F238E27FC236}">
                <a16:creationId xmlns:a16="http://schemas.microsoft.com/office/drawing/2014/main" id="{6F7831F2-DFDE-4080-AA82-CE9BE906AF5D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2220913" y="4997450"/>
            <a:ext cx="13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B3814A-9E64-4F85-A2ED-5A79123667CB}" type="datetime'''''''2'">
              <a:rPr lang="en-US" altLang="en-US" sz="1200" b="1" smtClean="0">
                <a:latin typeface="+mn-lt"/>
              </a:rPr>
              <a:pPr/>
              <a:t>2</a:t>
            </a:fld>
            <a:endParaRPr lang="en-US" sz="1200" b="1" dirty="0">
              <a:latin typeface="+mn-lt"/>
            </a:endParaRPr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1F55CBD6-7E78-444E-925A-97B79AFFE5C1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3235325" y="4791075"/>
            <a:ext cx="13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CA7736B-82F6-4B40-B8C6-E4A726AE41AB}" type="datetime'''''''3'''''''''''''''''''''''''''''''''''''">
              <a:rPr lang="en-US" altLang="en-US" sz="1200" b="1" smtClean="0">
                <a:latin typeface="+mn-lt"/>
              </a:rPr>
              <a:pPr/>
              <a:t>3</a:t>
            </a:fld>
            <a:endParaRPr lang="en-US" sz="1200" b="1" dirty="0">
              <a:latin typeface="+mn-lt"/>
            </a:endParaRPr>
          </a:p>
        </p:txBody>
      </p: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F26D1203-5BD0-4351-8887-F746F0FB061B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3573463" y="4997450"/>
            <a:ext cx="13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AC9B68-33FC-48D7-8004-E38252B8527D}" type="datetime'''''''''''''''''''''2'''''''''''''''''''">
              <a:rPr lang="en-US" altLang="en-US" sz="1200" b="1" smtClean="0">
                <a:latin typeface="+mn-lt"/>
              </a:rPr>
              <a:pPr/>
              <a:t>2</a:t>
            </a:fld>
            <a:endParaRPr lang="en-US" sz="1200" b="1" dirty="0">
              <a:latin typeface="+mn-lt"/>
            </a:endParaRPr>
          </a:p>
        </p:txBody>
      </p:sp>
      <p:sp>
        <p:nvSpPr>
          <p:cNvPr id="124" name="Text Placeholder 2">
            <a:extLst>
              <a:ext uri="{FF2B5EF4-FFF2-40B4-BE49-F238E27FC236}">
                <a16:creationId xmlns:a16="http://schemas.microsoft.com/office/drawing/2014/main" id="{F39556F5-458E-43E0-9168-F9B31B54298B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3911600" y="5202238"/>
            <a:ext cx="13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63C036-D9A4-42E9-9947-3DFBA6D3B4D7}" type="datetime'''''''''''''''''1'">
              <a:rPr lang="en-US" altLang="en-US" sz="1200" b="1" smtClean="0">
                <a:latin typeface="+mn-lt"/>
              </a:rPr>
              <a:pPr/>
              <a:t>1</a:t>
            </a:fld>
            <a:endParaRPr lang="en-US" sz="1200" b="1" dirty="0">
              <a:latin typeface="+mn-lt"/>
            </a:endParaRPr>
          </a:p>
        </p:txBody>
      </p:sp>
      <p:sp>
        <p:nvSpPr>
          <p:cNvPr id="132" name="Text Placeholder 2">
            <a:extLst>
              <a:ext uri="{FF2B5EF4-FFF2-40B4-BE49-F238E27FC236}">
                <a16:creationId xmlns:a16="http://schemas.microsoft.com/office/drawing/2014/main" id="{B68FBD1B-A684-42C3-9C3B-F270BAB28AF6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4249738" y="4586288"/>
            <a:ext cx="13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2F0B80-D9B2-4E9D-8E84-022934974C7D}" type="datetime'''''''''''''''''''''''''''''''''''''''4'''">
              <a:rPr lang="en-US" altLang="en-US" sz="1200" b="1" smtClean="0">
                <a:latin typeface="+mn-lt"/>
              </a:rPr>
              <a:pPr/>
              <a:t>4</a:t>
            </a:fld>
            <a:endParaRPr lang="en-US" sz="1200" b="1" dirty="0">
              <a:latin typeface="+mn-lt"/>
            </a:endParaRPr>
          </a:p>
        </p:txBody>
      </p:sp>
      <p:sp>
        <p:nvSpPr>
          <p:cNvPr id="288" name="Text Placeholder 2">
            <a:extLst>
              <a:ext uri="{FF2B5EF4-FFF2-40B4-BE49-F238E27FC236}">
                <a16:creationId xmlns:a16="http://schemas.microsoft.com/office/drawing/2014/main" id="{71B97BD6-D220-47BD-A969-E33A474021B1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8982075" y="4586288"/>
            <a:ext cx="13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702F29-9AC2-496D-9BFF-71CA3A0D6182}" type="datetime'''''''''''''''''''''''''''''''''''4'''''''''''''''''''">
              <a:rPr lang="en-US" altLang="en-US" sz="1200" b="1" smtClean="0">
                <a:latin typeface="+mn-lt"/>
              </a:rPr>
              <a:pPr/>
              <a:t>4</a:t>
            </a:fld>
            <a:endParaRPr lang="en-US" sz="1200" b="1" dirty="0">
              <a:latin typeface="+mn-lt"/>
            </a:endParaRPr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E066E7A7-C690-4C3E-B6E9-3C8B99468122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4587875" y="4791075"/>
            <a:ext cx="13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6ED65E6-9B8D-4673-8CEA-3F64609A6B78}" type="datetime'''''''''''''''''''''3'''''''''''''''''''">
              <a:rPr lang="en-US" altLang="en-US" sz="1200" b="1" smtClean="0">
                <a:latin typeface="+mn-lt"/>
              </a:rPr>
              <a:pPr/>
              <a:t>3</a:t>
            </a:fld>
            <a:endParaRPr lang="en-US" sz="1200" b="1" dirty="0">
              <a:latin typeface="+mn-lt"/>
            </a:endParaRPr>
          </a:p>
        </p:txBody>
      </p:sp>
      <p:sp>
        <p:nvSpPr>
          <p:cNvPr id="148" name="Text Placeholder 2">
            <a:extLst>
              <a:ext uri="{FF2B5EF4-FFF2-40B4-BE49-F238E27FC236}">
                <a16:creationId xmlns:a16="http://schemas.microsoft.com/office/drawing/2014/main" id="{0A661BBF-98AF-46AD-B17C-11D979E2EB41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4926013" y="5202238"/>
            <a:ext cx="13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8D8972-5880-431F-85FE-3291AF8561C7}" type="datetime'''''1'">
              <a:rPr lang="en-US" altLang="en-US" sz="1200" b="1" smtClean="0">
                <a:latin typeface="+mn-lt"/>
              </a:rPr>
              <a:pPr/>
              <a:t>1</a:t>
            </a:fld>
            <a:endParaRPr lang="en-US" sz="1200" b="1" dirty="0">
              <a:latin typeface="+mn-lt"/>
            </a:endParaRPr>
          </a:p>
        </p:txBody>
      </p:sp>
      <p:sp>
        <p:nvSpPr>
          <p:cNvPr id="156" name="Text Placeholder 2">
            <a:extLst>
              <a:ext uri="{FF2B5EF4-FFF2-40B4-BE49-F238E27FC236}">
                <a16:creationId xmlns:a16="http://schemas.microsoft.com/office/drawing/2014/main" id="{1CA9A03E-9318-49D8-BA16-391657078EB7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5264150" y="4381500"/>
            <a:ext cx="13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E4E287-0381-4F3E-A6A5-05565C1AEF9A}" type="datetime'''''''''''''''''''5'''''''''''''''''''">
              <a:rPr lang="en-US" altLang="en-US" sz="1200" b="1" smtClean="0">
                <a:latin typeface="+mn-lt"/>
              </a:rPr>
              <a:pPr/>
              <a:t>5</a:t>
            </a:fld>
            <a:endParaRPr lang="en-US" sz="1200" b="1" dirty="0">
              <a:latin typeface="+mn-lt"/>
            </a:endParaRPr>
          </a:p>
        </p:txBody>
      </p:sp>
      <p:sp>
        <p:nvSpPr>
          <p:cNvPr id="164" name="Text Placeholder 2">
            <a:extLst>
              <a:ext uri="{FF2B5EF4-FFF2-40B4-BE49-F238E27FC236}">
                <a16:creationId xmlns:a16="http://schemas.microsoft.com/office/drawing/2014/main" id="{39C1A2F0-BCCD-42FC-B25C-195B6DB3171D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5602288" y="5202238"/>
            <a:ext cx="13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CAEFA4-D4FC-4E73-A1F0-6564D2E7A0D4}" type="datetime'''''''''''''''''''''''''''''1'''''''''''">
              <a:rPr lang="en-US" altLang="en-US" sz="1200" b="1" smtClean="0">
                <a:latin typeface="+mn-lt"/>
              </a:rPr>
              <a:pPr/>
              <a:t>1</a:t>
            </a:fld>
            <a:endParaRPr lang="en-US" sz="1200" b="1" dirty="0">
              <a:latin typeface="+mn-lt"/>
            </a:endParaRPr>
          </a:p>
        </p:txBody>
      </p:sp>
      <p:sp>
        <p:nvSpPr>
          <p:cNvPr id="188" name="Text Placeholder 2">
            <a:extLst>
              <a:ext uri="{FF2B5EF4-FFF2-40B4-BE49-F238E27FC236}">
                <a16:creationId xmlns:a16="http://schemas.microsoft.com/office/drawing/2014/main" id="{5EBB616D-2FA4-4FAE-9295-7733450E12D5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6615113" y="4791075"/>
            <a:ext cx="13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971AAED-48EB-4B24-A44E-F7607184A1C7}" type="datetime'''''''''''''''''3'''''''''''''''''''''''''''''''''''''">
              <a:rPr lang="en-US" altLang="en-US" sz="1200" b="1" smtClean="0">
                <a:latin typeface="+mn-lt"/>
              </a:rPr>
              <a:pPr/>
              <a:t>3</a:t>
            </a:fld>
            <a:endParaRPr lang="en-US" sz="1200" b="1" dirty="0">
              <a:latin typeface="+mn-lt"/>
            </a:endParaRPr>
          </a:p>
        </p:txBody>
      </p:sp>
      <p:sp>
        <p:nvSpPr>
          <p:cNvPr id="172" name="Text Placeholder 2">
            <a:extLst>
              <a:ext uri="{FF2B5EF4-FFF2-40B4-BE49-F238E27FC236}">
                <a16:creationId xmlns:a16="http://schemas.microsoft.com/office/drawing/2014/main" id="{8CBAA1BC-D7A7-492E-8942-1E5E02B36D02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5940425" y="5202238"/>
            <a:ext cx="13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9548A2-B5CF-46D2-B69C-B682F5885813}" type="datetime'''''''''''''''''''''''''''''''''''''1'''''''''''''''''''''">
              <a:rPr lang="en-US" altLang="en-US" sz="1200" b="1" smtClean="0">
                <a:effectLst/>
                <a:latin typeface="+mn-lt"/>
              </a:rPr>
              <a:pPr/>
              <a:t>1</a:t>
            </a:fld>
            <a:endParaRPr lang="en-US" sz="1200" b="1" dirty="0">
              <a:latin typeface="+mn-lt"/>
            </a:endParaRPr>
          </a:p>
        </p:txBody>
      </p:sp>
      <p:sp>
        <p:nvSpPr>
          <p:cNvPr id="180" name="Text Placeholder 2">
            <a:extLst>
              <a:ext uri="{FF2B5EF4-FFF2-40B4-BE49-F238E27FC236}">
                <a16:creationId xmlns:a16="http://schemas.microsoft.com/office/drawing/2014/main" id="{5D3B49F3-C952-4153-B417-7A3BFCF71EFD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6276975" y="4791075"/>
            <a:ext cx="13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3720D1-BD63-47D6-83D1-A716140F3E1A}" type="datetime'''''''''''''3'''''''''''''''''''''''''''''''''''">
              <a:rPr lang="en-US" altLang="en-US" sz="1200" b="1" smtClean="0">
                <a:latin typeface="+mn-lt"/>
              </a:rPr>
              <a:pPr/>
              <a:t>3</a:t>
            </a:fld>
            <a:endParaRPr lang="en-US" sz="1200" b="1" dirty="0">
              <a:latin typeface="+mn-lt"/>
            </a:endParaRPr>
          </a:p>
        </p:txBody>
      </p:sp>
      <p:sp>
        <p:nvSpPr>
          <p:cNvPr id="196" name="Text Placeholder 2">
            <a:extLst>
              <a:ext uri="{FF2B5EF4-FFF2-40B4-BE49-F238E27FC236}">
                <a16:creationId xmlns:a16="http://schemas.microsoft.com/office/drawing/2014/main" id="{650F9102-BB43-4D70-ADE0-58CD2E9A5887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6953250" y="4997450"/>
            <a:ext cx="13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E707B4-854A-48D6-A40D-21DB27A3BB39}" type="datetime'''''2'''''">
              <a:rPr lang="en-US" altLang="en-US" sz="1200" b="1" smtClean="0">
                <a:latin typeface="+mn-lt"/>
              </a:rPr>
              <a:pPr/>
              <a:t>2</a:t>
            </a:fld>
            <a:endParaRPr lang="en-US" sz="1200" b="1" dirty="0">
              <a:latin typeface="+mn-lt"/>
            </a:endParaRPr>
          </a:p>
        </p:txBody>
      </p:sp>
      <p:sp>
        <p:nvSpPr>
          <p:cNvPr id="204" name="Text Placeholder 2">
            <a:extLst>
              <a:ext uri="{FF2B5EF4-FFF2-40B4-BE49-F238E27FC236}">
                <a16:creationId xmlns:a16="http://schemas.microsoft.com/office/drawing/2014/main" id="{E1ED2EBD-C5DA-4C2E-9F9D-1C6CA6FE21CE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7291388" y="5202238"/>
            <a:ext cx="13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26B6C5-3391-4560-AC2D-09C1A3D2682E}" type="datetime'''''''''''''''''''''''''''''''''''''''1'''''''">
              <a:rPr lang="en-US" altLang="en-US" sz="1200" b="1" smtClean="0">
                <a:latin typeface="+mn-lt"/>
              </a:rPr>
              <a:pPr/>
              <a:t>1</a:t>
            </a:fld>
            <a:endParaRPr lang="en-US" sz="1200" b="1" dirty="0">
              <a:latin typeface="+mn-lt"/>
            </a:endParaRPr>
          </a:p>
        </p:txBody>
      </p:sp>
      <p:sp>
        <p:nvSpPr>
          <p:cNvPr id="343" name="Text Placeholder 2">
            <a:extLst>
              <a:ext uri="{FF2B5EF4-FFF2-40B4-BE49-F238E27FC236}">
                <a16:creationId xmlns:a16="http://schemas.microsoft.com/office/drawing/2014/main" id="{3811A2C3-FD95-42D5-9D71-1B857B3BD89D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1150938" y="5657850"/>
            <a:ext cx="250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E147863-D6C9-4604-BE09-5083E4FDCA8C}" type="datetime'''''''''''''E''V''''8'''''''''''''''''''''''">
              <a:rPr lang="en-US" altLang="en-US" sz="1000" smtClean="0">
                <a:latin typeface="+mn-lt"/>
              </a:rPr>
              <a:pPr/>
              <a:t>EV8</a:t>
            </a:fld>
            <a:endParaRPr lang="en-US" sz="1000" dirty="0">
              <a:latin typeface="+mn-lt"/>
            </a:endParaRPr>
          </a:p>
        </p:txBody>
      </p:sp>
      <p:sp>
        <p:nvSpPr>
          <p:cNvPr id="220" name="Text Placeholder 2">
            <a:extLst>
              <a:ext uri="{FF2B5EF4-FFF2-40B4-BE49-F238E27FC236}">
                <a16:creationId xmlns:a16="http://schemas.microsoft.com/office/drawing/2014/main" id="{7BA35E04-F649-4FB0-B194-27401AFCC18B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7967663" y="4997450"/>
            <a:ext cx="13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EE4B78-7F57-4283-A129-B39B1902A8D5}" type="datetime'''''''''''''''''''''''2'''''''''''''''''''''''''">
              <a:rPr lang="en-US" altLang="en-US" sz="1200" b="1" smtClean="0">
                <a:latin typeface="+mn-lt"/>
              </a:rPr>
              <a:pPr/>
              <a:t>2</a:t>
            </a:fld>
            <a:endParaRPr lang="en-US" sz="1200" b="1" dirty="0">
              <a:latin typeface="+mn-lt"/>
            </a:endParaRPr>
          </a:p>
        </p:txBody>
      </p:sp>
      <p:sp>
        <p:nvSpPr>
          <p:cNvPr id="292" name="Text Placeholder 2">
            <a:extLst>
              <a:ext uri="{FF2B5EF4-FFF2-40B4-BE49-F238E27FC236}">
                <a16:creationId xmlns:a16="http://schemas.microsoft.com/office/drawing/2014/main" id="{7610A5D0-83E9-468F-8E23-454BA9A64321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8305800" y="4586288"/>
            <a:ext cx="13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184B66-13E8-499D-B595-CA84A2CC6FCC}" type="datetime'''''''''''''''''''''''4'''''''''''''''">
              <a:rPr lang="en-US" altLang="en-US" sz="1200" b="1" smtClean="0">
                <a:latin typeface="+mn-lt"/>
              </a:rPr>
              <a:pPr/>
              <a:t>4</a:t>
            </a:fld>
            <a:endParaRPr lang="en-US" sz="1200" b="1" dirty="0">
              <a:latin typeface="+mn-lt"/>
            </a:endParaRPr>
          </a:p>
        </p:txBody>
      </p:sp>
      <p:sp>
        <p:nvSpPr>
          <p:cNvPr id="287" name="Text Placeholder 2">
            <a:extLst>
              <a:ext uri="{FF2B5EF4-FFF2-40B4-BE49-F238E27FC236}">
                <a16:creationId xmlns:a16="http://schemas.microsoft.com/office/drawing/2014/main" id="{1D21BCD3-6BEF-4C1A-A9AE-59B92A7B482A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8643938" y="4586288"/>
            <a:ext cx="13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18AEE3-F155-4307-88E9-4F61B5A32F86}" type="datetime'''''''''''''''''''''4'''''''''''''''''''''''''''">
              <a:rPr lang="en-US" altLang="en-US" sz="1200" b="1" smtClean="0">
                <a:latin typeface="+mn-lt"/>
              </a:rPr>
              <a:pPr/>
              <a:t>4</a:t>
            </a:fld>
            <a:endParaRPr lang="en-US" sz="1200" b="1" dirty="0">
              <a:latin typeface="+mn-lt"/>
            </a:endParaRPr>
          </a:p>
        </p:txBody>
      </p:sp>
      <p:sp>
        <p:nvSpPr>
          <p:cNvPr id="281" name="Text Placeholder 2">
            <a:extLst>
              <a:ext uri="{FF2B5EF4-FFF2-40B4-BE49-F238E27FC236}">
                <a16:creationId xmlns:a16="http://schemas.microsoft.com/office/drawing/2014/main" id="{506A4D7B-D7BE-42AA-819B-1E1023A6A12F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9320213" y="4586288"/>
            <a:ext cx="13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8786FD1-8746-45C8-ACCB-B73352B6EA9D}" type="datetime'''''4'''''''''">
              <a:rPr lang="en-US" altLang="en-US" sz="1200" b="1" smtClean="0">
                <a:latin typeface="+mn-lt"/>
              </a:rPr>
              <a:pPr/>
              <a:t>4</a:t>
            </a:fld>
            <a:endParaRPr lang="en-US" sz="1200" b="1" dirty="0">
              <a:latin typeface="+mn-lt"/>
            </a:endParaRPr>
          </a:p>
        </p:txBody>
      </p:sp>
      <p:sp>
        <p:nvSpPr>
          <p:cNvPr id="282" name="Text Placeholder 2">
            <a:extLst>
              <a:ext uri="{FF2B5EF4-FFF2-40B4-BE49-F238E27FC236}">
                <a16:creationId xmlns:a16="http://schemas.microsoft.com/office/drawing/2014/main" id="{0E07CC46-0C07-44C8-B75E-402D928B9D81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9658350" y="4791075"/>
            <a:ext cx="13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E81D11-065F-410A-AAD1-BCA7F1C1B858}" type="datetime'''''''''''''''''''''''''''''''3'">
              <a:rPr lang="en-US" altLang="en-US" sz="1200" b="1" smtClean="0">
                <a:latin typeface="+mn-lt"/>
              </a:rPr>
              <a:pPr/>
              <a:t>3</a:t>
            </a:fld>
            <a:endParaRPr lang="en-US" sz="1200" b="1" dirty="0">
              <a:latin typeface="+mn-lt"/>
            </a:endParaRPr>
          </a:p>
        </p:txBody>
      </p:sp>
      <p:sp>
        <p:nvSpPr>
          <p:cNvPr id="273" name="Text Placeholder 2">
            <a:extLst>
              <a:ext uri="{FF2B5EF4-FFF2-40B4-BE49-F238E27FC236}">
                <a16:creationId xmlns:a16="http://schemas.microsoft.com/office/drawing/2014/main" id="{F23404F1-9F4B-45CB-9D40-CF6906F87BEA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9948863" y="3355975"/>
            <a:ext cx="2349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A52AAF-893A-414A-826C-FD2819DAEE67}" type="datetime'''''''''10'''''''''''''''''''''''''''''''">
              <a:rPr lang="en-US" altLang="en-US" sz="1200" b="1" smtClean="0">
                <a:latin typeface="+mn-lt"/>
              </a:rPr>
              <a:pPr/>
              <a:t>10</a:t>
            </a:fld>
            <a:endParaRPr lang="en-US" sz="1200" b="1" dirty="0">
              <a:latin typeface="+mn-lt"/>
            </a:endParaRPr>
          </a:p>
        </p:txBody>
      </p:sp>
      <p:sp>
        <p:nvSpPr>
          <p:cNvPr id="274" name="Text Placeholder 2">
            <a:extLst>
              <a:ext uri="{FF2B5EF4-FFF2-40B4-BE49-F238E27FC236}">
                <a16:creationId xmlns:a16="http://schemas.microsoft.com/office/drawing/2014/main" id="{58E1165F-1421-4E93-904A-78723A73DC3D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10334625" y="4997450"/>
            <a:ext cx="13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F82621-6910-40CA-AAEB-4DC848780170}" type="datetime'''''''''''''''''''''''''''''''''''''''''''2'''''''''''''''''''">
              <a:rPr lang="en-US" altLang="en-US" sz="1200" b="1" smtClean="0">
                <a:latin typeface="+mn-lt"/>
              </a:rPr>
              <a:pPr/>
              <a:t>2</a:t>
            </a:fld>
            <a:endParaRPr lang="en-US" sz="1200" b="1" dirty="0">
              <a:latin typeface="+mn-lt"/>
            </a:endParaRPr>
          </a:p>
        </p:txBody>
      </p:sp>
      <p:sp>
        <p:nvSpPr>
          <p:cNvPr id="267" name="Text Placeholder 2">
            <a:extLst>
              <a:ext uri="{FF2B5EF4-FFF2-40B4-BE49-F238E27FC236}">
                <a16:creationId xmlns:a16="http://schemas.microsoft.com/office/drawing/2014/main" id="{C9AB40BB-626E-48F1-9768-CA77F55FD791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10672763" y="4997450"/>
            <a:ext cx="13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B238AA-9399-42B5-9541-115355DB6FFD}" type="datetime'''''''''''''''2'''''''''''''''''''''''''''''''''''''">
              <a:rPr lang="en-US" altLang="en-US" sz="1200" b="1" smtClean="0">
                <a:effectLst/>
                <a:latin typeface="+mn-lt"/>
              </a:rPr>
              <a:pPr/>
              <a:t>2</a:t>
            </a:fld>
            <a:endParaRPr lang="en-US" sz="1200" b="1" dirty="0">
              <a:latin typeface="+mn-lt"/>
            </a:endParaRPr>
          </a:p>
        </p:txBody>
      </p:sp>
      <p:sp>
        <p:nvSpPr>
          <p:cNvPr id="212" name="Text Placeholder 2">
            <a:extLst>
              <a:ext uri="{FF2B5EF4-FFF2-40B4-BE49-F238E27FC236}">
                <a16:creationId xmlns:a16="http://schemas.microsoft.com/office/drawing/2014/main" id="{ACA3F3EC-AB7E-484B-8EE7-85ED90E45606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7629525" y="4791075"/>
            <a:ext cx="13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0EE1EE3-03C5-4912-867F-E2C7D75DE02E}" type="datetime'''''''''''''''''''''''''''''''''''''''''''''''3'''''''''''''''">
              <a:rPr lang="en-US" altLang="en-US" sz="1200" b="1" smtClean="0">
                <a:latin typeface="+mn-lt"/>
              </a:rPr>
              <a:pPr/>
              <a:t>3</a:t>
            </a:fld>
            <a:endParaRPr lang="en-US" sz="1200" b="1" dirty="0">
              <a:latin typeface="+mn-lt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01FF3BA-5CBC-433D-887C-5B4440C76633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773113" y="5657850"/>
            <a:ext cx="3302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C8E7361-E7D5-4BF8-87C4-456CACB11042}" type="datetime'''''E''''''V''''''''''''''''''''''''''''13'''''''''''''''''''">
              <a:rPr lang="en-US" altLang="en-US" sz="1000" smtClean="0">
                <a:latin typeface="+mn-lt"/>
              </a:rPr>
              <a:pPr/>
              <a:t>EV13</a:t>
            </a:fld>
            <a:endParaRPr lang="en-US" sz="1000" dirty="0">
              <a:latin typeface="+mn-lt"/>
            </a:endParaRPr>
          </a:p>
        </p:txBody>
      </p:sp>
      <p:sp>
        <p:nvSpPr>
          <p:cNvPr id="388" name="Text Placeholder 2">
            <a:extLst>
              <a:ext uri="{FF2B5EF4-FFF2-40B4-BE49-F238E27FC236}">
                <a16:creationId xmlns:a16="http://schemas.microsoft.com/office/drawing/2014/main" id="{EBB0C091-D7A3-4C0B-8B11-C9FDE704C21D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6181725" y="5657850"/>
            <a:ext cx="3302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F444834-3BA5-423B-8F60-5CE9B25736CC}" type="datetime'E''''''V''''''''''''''1''''''''''''''''''9'''''''''''''''''''">
              <a:rPr lang="en-US" altLang="en-US" sz="1000" smtClean="0">
                <a:latin typeface="+mn-lt"/>
              </a:rPr>
              <a:pPr/>
              <a:t>EV19</a:t>
            </a:fld>
            <a:endParaRPr lang="en-US" sz="1000" dirty="0">
              <a:latin typeface="+mn-lt"/>
            </a:endParaRPr>
          </a:p>
        </p:txBody>
      </p:sp>
      <p:sp>
        <p:nvSpPr>
          <p:cNvPr id="346" name="Text Placeholder 2">
            <a:extLst>
              <a:ext uri="{FF2B5EF4-FFF2-40B4-BE49-F238E27FC236}">
                <a16:creationId xmlns:a16="http://schemas.microsoft.com/office/drawing/2014/main" id="{4002600B-A134-4ED9-AD2D-DD936B2A4630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1449388" y="5657850"/>
            <a:ext cx="3302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49EA89-7BBC-4C72-B554-96089EA0AA77}" type="datetime'''''E''''''''''''''''''''V''3''0'''''">
              <a:rPr lang="en-US" altLang="en-US" sz="1000" smtClean="0">
                <a:latin typeface="+mn-lt"/>
              </a:rPr>
              <a:pPr/>
              <a:t>EV30</a:t>
            </a:fld>
            <a:endParaRPr lang="en-US" sz="1000" dirty="0">
              <a:latin typeface="+mn-lt"/>
            </a:endParaRPr>
          </a:p>
        </p:txBody>
      </p:sp>
      <p:sp>
        <p:nvSpPr>
          <p:cNvPr id="370" name="Text Placeholder 2">
            <a:extLst>
              <a:ext uri="{FF2B5EF4-FFF2-40B4-BE49-F238E27FC236}">
                <a16:creationId xmlns:a16="http://schemas.microsoft.com/office/drawing/2014/main" id="{CEAD23E2-F62F-4F31-88B1-BE6F6C3C4799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4154488" y="5657850"/>
            <a:ext cx="3302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C47FC78-41C3-417A-9590-5253A8E6667C}" type="datetime'''''''''EV''''''''2''2'''''''''">
              <a:rPr lang="en-US" altLang="en-US" sz="1000" smtClean="0">
                <a:latin typeface="+mn-lt"/>
              </a:rPr>
              <a:pPr/>
              <a:t>EV22</a:t>
            </a:fld>
            <a:endParaRPr lang="en-US" sz="1000" dirty="0">
              <a:latin typeface="+mn-lt"/>
            </a:endParaRPr>
          </a:p>
        </p:txBody>
      </p:sp>
      <p:sp>
        <p:nvSpPr>
          <p:cNvPr id="355" name="Text Placeholder 2">
            <a:extLst>
              <a:ext uri="{FF2B5EF4-FFF2-40B4-BE49-F238E27FC236}">
                <a16:creationId xmlns:a16="http://schemas.microsoft.com/office/drawing/2014/main" id="{2B1763C0-561D-47D8-91EA-7516B9AC7B39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2503488" y="5657850"/>
            <a:ext cx="250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828C95-7D24-4BBA-A84D-DD8DF6AA1478}" type="datetime'''''''''E''''''''''''''V''4'''''''''''''''''''">
              <a:rPr lang="en-US" altLang="en-US" sz="1000" smtClean="0">
                <a:latin typeface="+mn-lt"/>
              </a:rPr>
              <a:pPr/>
              <a:t>EV4</a:t>
            </a:fld>
            <a:endParaRPr lang="en-US" sz="1000" dirty="0">
              <a:latin typeface="+mn-lt"/>
            </a:endParaRPr>
          </a:p>
        </p:txBody>
      </p:sp>
      <p:sp>
        <p:nvSpPr>
          <p:cNvPr id="406" name="Text Placeholder 2">
            <a:extLst>
              <a:ext uri="{FF2B5EF4-FFF2-40B4-BE49-F238E27FC236}">
                <a16:creationId xmlns:a16="http://schemas.microsoft.com/office/drawing/2014/main" id="{9F171FF3-773A-4347-9035-059AEE0FD56A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8210550" y="5657850"/>
            <a:ext cx="3302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492474F-EC09-4C92-88EA-8F2F6BB1EA7C}" type="datetime'''E''''''V''''''''''''''23'''''''''''''''''''''''''''''''">
              <a:rPr lang="en-US" altLang="en-US" sz="1000" smtClean="0">
                <a:latin typeface="+mn-lt"/>
              </a:rPr>
              <a:pPr/>
              <a:t>EV23</a:t>
            </a:fld>
            <a:endParaRPr lang="en-US" sz="1000" dirty="0">
              <a:latin typeface="+mn-lt"/>
            </a:endParaRPr>
          </a:p>
        </p:txBody>
      </p:sp>
      <p:sp>
        <p:nvSpPr>
          <p:cNvPr id="349" name="Text Placeholder 2">
            <a:extLst>
              <a:ext uri="{FF2B5EF4-FFF2-40B4-BE49-F238E27FC236}">
                <a16:creationId xmlns:a16="http://schemas.microsoft.com/office/drawing/2014/main" id="{6E90976B-84FA-488C-90DB-98B277264439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1744663" y="5657850"/>
            <a:ext cx="4159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54CF24-E606-4753-B655-1832F4FEB6E9}" type="datetime'''''''''E''V''''''''''1''''''''''5''''''''''A'''''">
              <a:rPr lang="en-US" altLang="en-US" sz="1000" smtClean="0">
                <a:latin typeface="+mn-lt"/>
              </a:rPr>
              <a:pPr/>
              <a:t>EV15A</a:t>
            </a:fld>
            <a:endParaRPr lang="en-US" sz="1000" dirty="0">
              <a:latin typeface="+mn-lt"/>
            </a:endParaRPr>
          </a:p>
        </p:txBody>
      </p:sp>
      <p:sp>
        <p:nvSpPr>
          <p:cNvPr id="352" name="Text Placeholder 2">
            <a:extLst>
              <a:ext uri="{FF2B5EF4-FFF2-40B4-BE49-F238E27FC236}">
                <a16:creationId xmlns:a16="http://schemas.microsoft.com/office/drawing/2014/main" id="{4B45A972-43A6-4984-BD6D-DC6117D206C3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2165350" y="5657850"/>
            <a:ext cx="2508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DE54B6-F1D5-4B95-8C2E-E49474D0090F}" type="datetime'''''''''''''''''''''''''''E''''''''''''''V''''5'''''''">
              <a:rPr lang="en-US" altLang="en-US" sz="1000" smtClean="0">
                <a:latin typeface="+mn-lt"/>
              </a:rPr>
              <a:pPr/>
              <a:t>EV5</a:t>
            </a:fld>
            <a:endParaRPr lang="en-US" sz="1000" dirty="0">
              <a:latin typeface="+mn-lt"/>
            </a:endParaRPr>
          </a:p>
        </p:txBody>
      </p:sp>
      <p:sp>
        <p:nvSpPr>
          <p:cNvPr id="263" name="Text Placeholder 2">
            <a:extLst>
              <a:ext uri="{FF2B5EF4-FFF2-40B4-BE49-F238E27FC236}">
                <a16:creationId xmlns:a16="http://schemas.microsoft.com/office/drawing/2014/main" id="{550CE5BF-4CBF-4850-AC25-AD4D715B41B9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11349038" y="4586288"/>
            <a:ext cx="1397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b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B80D1C-AD80-4CD8-8909-A7D74B2125F3}" type="datetime'''4'''''''''''''''''''''''''''''''''''">
              <a:rPr lang="en-US" altLang="en-US" sz="1200" b="1" smtClean="0">
                <a:latin typeface="+mn-lt"/>
              </a:rPr>
              <a:pPr/>
              <a:t>4</a:t>
            </a:fld>
            <a:endParaRPr lang="en-US" sz="1200" b="1" dirty="0">
              <a:latin typeface="+mn-lt"/>
            </a:endParaRPr>
          </a:p>
        </p:txBody>
      </p:sp>
      <p:sp>
        <p:nvSpPr>
          <p:cNvPr id="339" name="Rectangle 338">
            <a:extLst>
              <a:ext uri="{FF2B5EF4-FFF2-40B4-BE49-F238E27FC236}">
                <a16:creationId xmlns:a16="http://schemas.microsoft.com/office/drawing/2014/main" id="{096B57F2-1EED-46CF-9EEF-81A7D2FEA9A3}"/>
              </a:ext>
            </a:extLst>
          </p:cNvPr>
          <p:cNvSpPr/>
          <p:nvPr>
            <p:custDataLst>
              <p:tags r:id="rId78"/>
            </p:custDataLst>
          </p:nvPr>
        </p:nvSpPr>
        <p:spPr bwMode="auto">
          <a:xfrm>
            <a:off x="688975" y="6080125"/>
            <a:ext cx="250825" cy="187325"/>
          </a:xfrm>
          <a:prstGeom prst="rect">
            <a:avLst/>
          </a:prstGeom>
          <a:solidFill>
            <a:srgbClr val="FFE6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3" name="Rectangle 332">
            <a:extLst>
              <a:ext uri="{FF2B5EF4-FFF2-40B4-BE49-F238E27FC236}">
                <a16:creationId xmlns:a16="http://schemas.microsoft.com/office/drawing/2014/main" id="{D5577CEF-56DE-4B0D-A108-E27B648A4AEC}"/>
              </a:ext>
            </a:extLst>
          </p:cNvPr>
          <p:cNvSpPr/>
          <p:nvPr>
            <p:custDataLst>
              <p:tags r:id="rId79"/>
            </p:custDataLst>
          </p:nvPr>
        </p:nvSpPr>
        <p:spPr bwMode="auto">
          <a:xfrm>
            <a:off x="1703109" y="6080125"/>
            <a:ext cx="250825" cy="187325"/>
          </a:xfrm>
          <a:prstGeom prst="rect">
            <a:avLst/>
          </a:prstGeom>
          <a:solidFill>
            <a:srgbClr val="C4C4C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34" name="Text Placeholder 2">
            <a:extLst>
              <a:ext uri="{FF2B5EF4-FFF2-40B4-BE49-F238E27FC236}">
                <a16:creationId xmlns:a16="http://schemas.microsoft.com/office/drawing/2014/main" id="{1E5E9979-C8D2-43DF-BC79-849C8B4136AB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990600" y="6075363"/>
            <a:ext cx="8112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E2A3260-ABDB-40C4-950E-7CF9CFEE04F0}" type="datetime'''''''''''''R''''''e''a''li''''''''''''z''''''''at'''">
              <a:rPr lang="en-US" altLang="en-US" sz="1200" smtClean="0">
                <a:latin typeface="+mn-lt"/>
              </a:rPr>
              <a:pPr/>
              <a:t>Realizat</a:t>
            </a:fld>
            <a:endParaRPr lang="en-US" sz="1400" dirty="0">
              <a:latin typeface="+mn-lt"/>
            </a:endParaRPr>
          </a:p>
        </p:txBody>
      </p:sp>
      <p:sp>
        <p:nvSpPr>
          <p:cNvPr id="307" name="Text Placeholder 2">
            <a:extLst>
              <a:ext uri="{FF2B5EF4-FFF2-40B4-BE49-F238E27FC236}">
                <a16:creationId xmlns:a16="http://schemas.microsoft.com/office/drawing/2014/main" id="{75FBF033-BE04-459F-9624-DFF6DABC2FA9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2205038" y="6075363"/>
            <a:ext cx="6365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400" dirty="0">
              <a:latin typeface="+mn-lt"/>
            </a:endParaRPr>
          </a:p>
        </p:txBody>
      </p:sp>
      <p:sp>
        <p:nvSpPr>
          <p:cNvPr id="96" name="Text Placeholder 2">
            <a:extLst>
              <a:ext uri="{FF2B5EF4-FFF2-40B4-BE49-F238E27FC236}">
                <a16:creationId xmlns:a16="http://schemas.microsoft.com/office/drawing/2014/main" id="{D47C125E-4AFF-4915-9AEC-20DC81DD5057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2010568" y="6081712"/>
            <a:ext cx="8112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20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8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6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4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110000"/>
              <a:buFont typeface="EYInterstate Light" panose="02000506000000020004" pitchFamily="2" charset="0"/>
              <a:buChar char="•"/>
              <a:defRPr sz="1200" kern="120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E2BDD3D-BD2D-48A4-AFD7-7B5692B599EC}" type="datetime'''''''''''''''N''e''''''r''e''''''''''aliz''''a''''t'">
              <a:rPr lang="en-US" altLang="en-US" sz="1200" smtClean="0">
                <a:latin typeface="+mn-lt"/>
              </a:rPr>
              <a:pPr/>
              <a:t>Nerealizat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963122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02DE266-FFA6-4EBA-A7CC-102EE48635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6293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02DE266-FFA6-4EBA-A7CC-102EE48635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 view of the earth from space&#10;&#10;Description automatically generated with medium confidence">
            <a:extLst>
              <a:ext uri="{FF2B5EF4-FFF2-40B4-BE49-F238E27FC236}">
                <a16:creationId xmlns:a16="http://schemas.microsoft.com/office/drawing/2014/main" id="{9140BA29-222D-4289-9821-4171BF9A6A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56" b="7754"/>
          <a:stretch/>
        </p:blipFill>
        <p:spPr>
          <a:xfrm>
            <a:off x="0" y="0"/>
            <a:ext cx="12198350" cy="6858000"/>
          </a:xfrm>
          <a:prstGeom prst="rect">
            <a:avLst/>
          </a:prstGeom>
        </p:spPr>
      </p:pic>
      <p:sp>
        <p:nvSpPr>
          <p:cNvPr id="71" name="CasetăText 70">
            <a:extLst>
              <a:ext uri="{FF2B5EF4-FFF2-40B4-BE49-F238E27FC236}">
                <a16:creationId xmlns:a16="http://schemas.microsoft.com/office/drawing/2014/main" id="{A5972B02-6EB5-40D4-8511-F7598D66268C}"/>
              </a:ext>
            </a:extLst>
          </p:cNvPr>
          <p:cNvSpPr txBox="1"/>
          <p:nvPr/>
        </p:nvSpPr>
        <p:spPr>
          <a:xfrm>
            <a:off x="701528" y="719343"/>
            <a:ext cx="2734659" cy="49244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r>
              <a:rPr lang="ro-RO" sz="3200" dirty="0">
                <a:solidFill>
                  <a:schemeClr val="tx2"/>
                </a:solidFill>
              </a:rPr>
              <a:t>Vă mulțumesc!</a:t>
            </a:r>
            <a:endParaRPr lang="en-US" sz="3200" dirty="0">
              <a:solidFill>
                <a:schemeClr val="tx2"/>
              </a:solidFill>
            </a:endParaRPr>
          </a:p>
        </p:txBody>
      </p:sp>
      <p:sp>
        <p:nvSpPr>
          <p:cNvPr id="72" name="Content Placeholder 2">
            <a:extLst>
              <a:ext uri="{FF2B5EF4-FFF2-40B4-BE49-F238E27FC236}">
                <a16:creationId xmlns:a16="http://schemas.microsoft.com/office/drawing/2014/main" id="{5306A2E0-0C57-4E32-944E-DA9153BEFF5B}"/>
              </a:ext>
            </a:extLst>
          </p:cNvPr>
          <p:cNvSpPr txBox="1">
            <a:spLocks/>
          </p:cNvSpPr>
          <p:nvPr/>
        </p:nvSpPr>
        <p:spPr>
          <a:xfrm>
            <a:off x="1297729" y="1407515"/>
            <a:ext cx="3513847" cy="276999"/>
          </a:xfrm>
          <a:prstGeom prst="rect">
            <a:avLst/>
          </a:prstGeom>
          <a:noFill/>
        </p:spPr>
        <p:txBody>
          <a:bodyPr vert="horz" wrap="none" lIns="0" tIns="0" rIns="0" bIns="0" rtlCol="0" anchor="t">
            <a:spAutoFit/>
          </a:bodyPr>
          <a:lstStyle>
            <a:defPPr>
              <a:defRPr lang="en-US"/>
            </a:defPPr>
            <a:lvl1pPr indent="0" defTabSz="914400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None/>
              <a:defRPr cap="none" spc="0" baseline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</a:defRPr>
            </a:lvl1pPr>
            <a:lvl2pPr indent="0" algn="ctr" defTabSz="914400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None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indent="0" algn="ctr" defTabSz="914400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None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indent="0" algn="ctr" defTabSz="914400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indent="0" algn="ctr" defTabSz="914400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indent="0" algn="ctr" defTabSz="914400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indent="0" algn="ctr" defTabSz="914400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indent="0" algn="ctr" defTabSz="914400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indent="0" algn="ctr" defTabSz="914400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>
              <a:buClr>
                <a:srgbClr val="FFE600"/>
              </a:buClr>
            </a:pPr>
            <a:r>
              <a:rPr lang="ro-RO" sz="2000" dirty="0">
                <a:solidFill>
                  <a:schemeClr val="bg1"/>
                </a:solidFill>
                <a:latin typeface="+mn-lt"/>
              </a:rPr>
              <a:t>Carmen.Adamescu@ro.ey.com</a:t>
            </a:r>
            <a:endParaRPr lang="en-US" sz="20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B9ABB52B-81C9-401E-A481-EDC5E2B0FBDF}"/>
              </a:ext>
            </a:extLst>
          </p:cNvPr>
          <p:cNvSpPr/>
          <p:nvPr/>
        </p:nvSpPr>
        <p:spPr>
          <a:xfrm>
            <a:off x="730104" y="1407514"/>
            <a:ext cx="389852" cy="277000"/>
          </a:xfrm>
          <a:custGeom>
            <a:avLst/>
            <a:gdLst>
              <a:gd name="connsiteX0" fmla="*/ 0 w 723900"/>
              <a:gd name="connsiteY0" fmla="*/ 0 h 514350"/>
              <a:gd name="connsiteX1" fmla="*/ 0 w 723900"/>
              <a:gd name="connsiteY1" fmla="*/ 514350 h 514350"/>
              <a:gd name="connsiteX2" fmla="*/ 723900 w 723900"/>
              <a:gd name="connsiteY2" fmla="*/ 514350 h 514350"/>
              <a:gd name="connsiteX3" fmla="*/ 723900 w 723900"/>
              <a:gd name="connsiteY3" fmla="*/ 0 h 514350"/>
              <a:gd name="connsiteX4" fmla="*/ 382162 w 723900"/>
              <a:gd name="connsiteY4" fmla="*/ 328270 h 514350"/>
              <a:gd name="connsiteX5" fmla="*/ 341738 w 723900"/>
              <a:gd name="connsiteY5" fmla="*/ 328270 h 514350"/>
              <a:gd name="connsiteX6" fmla="*/ 32680 w 723900"/>
              <a:gd name="connsiteY6" fmla="*/ 19212 h 514350"/>
              <a:gd name="connsiteX7" fmla="*/ 32681 w 723900"/>
              <a:gd name="connsiteY7" fmla="*/ 19078 h 514350"/>
              <a:gd name="connsiteX8" fmla="*/ 32747 w 723900"/>
              <a:gd name="connsiteY8" fmla="*/ 19050 h 514350"/>
              <a:gd name="connsiteX9" fmla="*/ 691153 w 723900"/>
              <a:gd name="connsiteY9" fmla="*/ 19050 h 514350"/>
              <a:gd name="connsiteX10" fmla="*/ 691247 w 723900"/>
              <a:gd name="connsiteY10" fmla="*/ 19146 h 514350"/>
              <a:gd name="connsiteX11" fmla="*/ 691220 w 723900"/>
              <a:gd name="connsiteY11" fmla="*/ 19212 h 514350"/>
              <a:gd name="connsiteX12" fmla="*/ 243707 w 723900"/>
              <a:gd name="connsiteY12" fmla="*/ 257175 h 514350"/>
              <a:gd name="connsiteX13" fmla="*/ 19212 w 723900"/>
              <a:gd name="connsiteY13" fmla="*/ 481670 h 514350"/>
              <a:gd name="connsiteX14" fmla="*/ 19078 w 723900"/>
              <a:gd name="connsiteY14" fmla="*/ 481669 h 514350"/>
              <a:gd name="connsiteX15" fmla="*/ 19050 w 723900"/>
              <a:gd name="connsiteY15" fmla="*/ 481603 h 514350"/>
              <a:gd name="connsiteX16" fmla="*/ 19050 w 723900"/>
              <a:gd name="connsiteY16" fmla="*/ 32747 h 514350"/>
              <a:gd name="connsiteX17" fmla="*/ 19146 w 723900"/>
              <a:gd name="connsiteY17" fmla="*/ 32653 h 514350"/>
              <a:gd name="connsiteX18" fmla="*/ 19212 w 723900"/>
              <a:gd name="connsiteY18" fmla="*/ 32680 h 514350"/>
              <a:gd name="connsiteX19" fmla="*/ 257175 w 723900"/>
              <a:gd name="connsiteY19" fmla="*/ 270643 h 514350"/>
              <a:gd name="connsiteX20" fmla="*/ 328270 w 723900"/>
              <a:gd name="connsiteY20" fmla="*/ 341738 h 514350"/>
              <a:gd name="connsiteX21" fmla="*/ 395622 w 723900"/>
              <a:gd name="connsiteY21" fmla="*/ 341747 h 514350"/>
              <a:gd name="connsiteX22" fmla="*/ 395630 w 723900"/>
              <a:gd name="connsiteY22" fmla="*/ 341738 h 514350"/>
              <a:gd name="connsiteX23" fmla="*/ 466725 w 723900"/>
              <a:gd name="connsiteY23" fmla="*/ 270643 h 514350"/>
              <a:gd name="connsiteX24" fmla="*/ 691220 w 723900"/>
              <a:gd name="connsiteY24" fmla="*/ 495138 h 514350"/>
              <a:gd name="connsiteX25" fmla="*/ 691219 w 723900"/>
              <a:gd name="connsiteY25" fmla="*/ 495272 h 514350"/>
              <a:gd name="connsiteX26" fmla="*/ 691153 w 723900"/>
              <a:gd name="connsiteY26" fmla="*/ 495300 h 514350"/>
              <a:gd name="connsiteX27" fmla="*/ 32747 w 723900"/>
              <a:gd name="connsiteY27" fmla="*/ 495300 h 514350"/>
              <a:gd name="connsiteX28" fmla="*/ 32653 w 723900"/>
              <a:gd name="connsiteY28" fmla="*/ 495204 h 514350"/>
              <a:gd name="connsiteX29" fmla="*/ 32680 w 723900"/>
              <a:gd name="connsiteY29" fmla="*/ 495138 h 514350"/>
              <a:gd name="connsiteX30" fmla="*/ 480193 w 723900"/>
              <a:gd name="connsiteY30" fmla="*/ 257175 h 514350"/>
              <a:gd name="connsiteX31" fmla="*/ 704688 w 723900"/>
              <a:gd name="connsiteY31" fmla="*/ 32680 h 514350"/>
              <a:gd name="connsiteX32" fmla="*/ 704822 w 723900"/>
              <a:gd name="connsiteY32" fmla="*/ 32681 h 514350"/>
              <a:gd name="connsiteX33" fmla="*/ 704850 w 723900"/>
              <a:gd name="connsiteY33" fmla="*/ 32747 h 514350"/>
              <a:gd name="connsiteX34" fmla="*/ 704850 w 723900"/>
              <a:gd name="connsiteY34" fmla="*/ 481603 h 514350"/>
              <a:gd name="connsiteX35" fmla="*/ 704754 w 723900"/>
              <a:gd name="connsiteY35" fmla="*/ 481697 h 514350"/>
              <a:gd name="connsiteX36" fmla="*/ 704688 w 723900"/>
              <a:gd name="connsiteY36" fmla="*/ 481670 h 51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723900" h="514350">
                <a:moveTo>
                  <a:pt x="0" y="0"/>
                </a:moveTo>
                <a:lnTo>
                  <a:pt x="0" y="514350"/>
                </a:lnTo>
                <a:lnTo>
                  <a:pt x="723900" y="514350"/>
                </a:lnTo>
                <a:lnTo>
                  <a:pt x="723900" y="0"/>
                </a:lnTo>
                <a:close/>
                <a:moveTo>
                  <a:pt x="382162" y="328270"/>
                </a:moveTo>
                <a:cubicBezTo>
                  <a:pt x="370980" y="339385"/>
                  <a:pt x="352920" y="339385"/>
                  <a:pt x="341738" y="328270"/>
                </a:cubicBezTo>
                <a:lnTo>
                  <a:pt x="32680" y="19212"/>
                </a:lnTo>
                <a:cubicBezTo>
                  <a:pt x="32643" y="19175"/>
                  <a:pt x="32644" y="19114"/>
                  <a:pt x="32681" y="19078"/>
                </a:cubicBezTo>
                <a:cubicBezTo>
                  <a:pt x="32699" y="19060"/>
                  <a:pt x="32722" y="19050"/>
                  <a:pt x="32747" y="19050"/>
                </a:cubicBezTo>
                <a:lnTo>
                  <a:pt x="691153" y="19050"/>
                </a:lnTo>
                <a:cubicBezTo>
                  <a:pt x="691205" y="19051"/>
                  <a:pt x="691247" y="19094"/>
                  <a:pt x="691247" y="19146"/>
                </a:cubicBezTo>
                <a:cubicBezTo>
                  <a:pt x="691246" y="19171"/>
                  <a:pt x="691237" y="19195"/>
                  <a:pt x="691220" y="19212"/>
                </a:cubicBezTo>
                <a:close/>
                <a:moveTo>
                  <a:pt x="243707" y="257175"/>
                </a:moveTo>
                <a:lnTo>
                  <a:pt x="19212" y="481670"/>
                </a:lnTo>
                <a:cubicBezTo>
                  <a:pt x="19175" y="481707"/>
                  <a:pt x="19114" y="481706"/>
                  <a:pt x="19078" y="481669"/>
                </a:cubicBezTo>
                <a:cubicBezTo>
                  <a:pt x="19060" y="481651"/>
                  <a:pt x="19050" y="481628"/>
                  <a:pt x="19050" y="481603"/>
                </a:cubicBezTo>
                <a:lnTo>
                  <a:pt x="19050" y="32747"/>
                </a:lnTo>
                <a:cubicBezTo>
                  <a:pt x="19051" y="32695"/>
                  <a:pt x="19094" y="32653"/>
                  <a:pt x="19146" y="32653"/>
                </a:cubicBezTo>
                <a:cubicBezTo>
                  <a:pt x="19171" y="32654"/>
                  <a:pt x="19195" y="32663"/>
                  <a:pt x="19212" y="32680"/>
                </a:cubicBezTo>
                <a:close/>
                <a:moveTo>
                  <a:pt x="257175" y="270643"/>
                </a:moveTo>
                <a:lnTo>
                  <a:pt x="328270" y="341738"/>
                </a:lnTo>
                <a:cubicBezTo>
                  <a:pt x="346866" y="360339"/>
                  <a:pt x="377020" y="360343"/>
                  <a:pt x="395622" y="341747"/>
                </a:cubicBezTo>
                <a:cubicBezTo>
                  <a:pt x="395625" y="341744"/>
                  <a:pt x="395628" y="341741"/>
                  <a:pt x="395630" y="341738"/>
                </a:cubicBezTo>
                <a:lnTo>
                  <a:pt x="466725" y="270643"/>
                </a:lnTo>
                <a:lnTo>
                  <a:pt x="691220" y="495138"/>
                </a:lnTo>
                <a:cubicBezTo>
                  <a:pt x="691257" y="495175"/>
                  <a:pt x="691256" y="495236"/>
                  <a:pt x="691219" y="495272"/>
                </a:cubicBezTo>
                <a:cubicBezTo>
                  <a:pt x="691201" y="495290"/>
                  <a:pt x="691178" y="495300"/>
                  <a:pt x="691153" y="495300"/>
                </a:cubicBezTo>
                <a:lnTo>
                  <a:pt x="32747" y="495300"/>
                </a:lnTo>
                <a:cubicBezTo>
                  <a:pt x="32695" y="495299"/>
                  <a:pt x="32653" y="495256"/>
                  <a:pt x="32653" y="495204"/>
                </a:cubicBezTo>
                <a:cubicBezTo>
                  <a:pt x="32654" y="495179"/>
                  <a:pt x="32663" y="495155"/>
                  <a:pt x="32680" y="495138"/>
                </a:cubicBezTo>
                <a:close/>
                <a:moveTo>
                  <a:pt x="480193" y="257175"/>
                </a:moveTo>
                <a:lnTo>
                  <a:pt x="704688" y="32680"/>
                </a:lnTo>
                <a:cubicBezTo>
                  <a:pt x="704725" y="32643"/>
                  <a:pt x="704786" y="32644"/>
                  <a:pt x="704822" y="32681"/>
                </a:cubicBezTo>
                <a:cubicBezTo>
                  <a:pt x="704840" y="32699"/>
                  <a:pt x="704850" y="32722"/>
                  <a:pt x="704850" y="32747"/>
                </a:cubicBezTo>
                <a:lnTo>
                  <a:pt x="704850" y="481603"/>
                </a:lnTo>
                <a:cubicBezTo>
                  <a:pt x="704849" y="481655"/>
                  <a:pt x="704806" y="481697"/>
                  <a:pt x="704754" y="481697"/>
                </a:cubicBezTo>
                <a:cubicBezTo>
                  <a:pt x="704729" y="481696"/>
                  <a:pt x="704705" y="481687"/>
                  <a:pt x="704688" y="481670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0336E450-0792-469F-BF8C-BD2899963FAD}"/>
              </a:ext>
            </a:extLst>
          </p:cNvPr>
          <p:cNvSpPr/>
          <p:nvPr/>
        </p:nvSpPr>
        <p:spPr>
          <a:xfrm rot="5400000">
            <a:off x="5939441" y="1697635"/>
            <a:ext cx="1158644" cy="7505700"/>
          </a:xfrm>
          <a:prstGeom prst="roundRect">
            <a:avLst/>
          </a:prstGeom>
          <a:solidFill>
            <a:schemeClr val="bg1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grpSp>
        <p:nvGrpSpPr>
          <p:cNvPr id="221" name="Group 220">
            <a:extLst>
              <a:ext uri="{FF2B5EF4-FFF2-40B4-BE49-F238E27FC236}">
                <a16:creationId xmlns:a16="http://schemas.microsoft.com/office/drawing/2014/main" id="{C871ECF9-40DE-45F6-8995-459B30A1F16B}"/>
              </a:ext>
            </a:extLst>
          </p:cNvPr>
          <p:cNvGrpSpPr/>
          <p:nvPr/>
        </p:nvGrpSpPr>
        <p:grpSpPr>
          <a:xfrm>
            <a:off x="3539208" y="5115237"/>
            <a:ext cx="5959110" cy="670497"/>
            <a:chOff x="3380496" y="5642284"/>
            <a:chExt cx="5959110" cy="670497"/>
          </a:xfrm>
        </p:grpSpPr>
        <p:pic>
          <p:nvPicPr>
            <p:cNvPr id="73" name="Picture 10">
              <a:extLst>
                <a:ext uri="{FF2B5EF4-FFF2-40B4-BE49-F238E27FC236}">
                  <a16:creationId xmlns:a16="http://schemas.microsoft.com/office/drawing/2014/main" id="{871E1C5C-DC7F-4B91-AD0E-66F78525C671}"/>
                </a:ext>
              </a:extLst>
            </p:cNvPr>
            <p:cNvPicPr/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762" r="24144"/>
            <a:stretch/>
          </p:blipFill>
          <p:spPr>
            <a:xfrm>
              <a:off x="5092260" y="5698736"/>
              <a:ext cx="1438276" cy="614045"/>
            </a:xfrm>
            <a:prstGeom prst="rect">
              <a:avLst/>
            </a:prstGeom>
          </p:spPr>
        </p:pic>
        <p:pic>
          <p:nvPicPr>
            <p:cNvPr id="74" name="Graphic 11">
              <a:extLst>
                <a:ext uri="{FF2B5EF4-FFF2-40B4-BE49-F238E27FC236}">
                  <a16:creationId xmlns:a16="http://schemas.microsoft.com/office/drawing/2014/main" id="{810A8AFD-D789-4BEC-82C1-B310FA1A3AF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478688" y="5642284"/>
              <a:ext cx="1860918" cy="612648"/>
            </a:xfrm>
            <a:prstGeom prst="rect">
              <a:avLst/>
            </a:prstGeom>
          </p:spPr>
        </p:pic>
        <p:pic>
          <p:nvPicPr>
            <p:cNvPr id="19" name="Picture 10">
              <a:extLst>
                <a:ext uri="{FF2B5EF4-FFF2-40B4-BE49-F238E27FC236}">
                  <a16:creationId xmlns:a16="http://schemas.microsoft.com/office/drawing/2014/main" id="{8B31750C-AECF-440C-BA9D-BC22DA70E4B5}"/>
                </a:ext>
              </a:extLst>
            </p:cNvPr>
            <p:cNvPicPr/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6464"/>
            <a:stretch/>
          </p:blipFill>
          <p:spPr>
            <a:xfrm>
              <a:off x="3380496" y="5698736"/>
              <a:ext cx="775823" cy="614045"/>
            </a:xfrm>
            <a:prstGeom prst="rect">
              <a:avLst/>
            </a:prstGeom>
          </p:spPr>
        </p:pic>
        <p:pic>
          <p:nvPicPr>
            <p:cNvPr id="20" name="Picture 10">
              <a:extLst>
                <a:ext uri="{FF2B5EF4-FFF2-40B4-BE49-F238E27FC236}">
                  <a16:creationId xmlns:a16="http://schemas.microsoft.com/office/drawing/2014/main" id="{7FBC6AB6-2BA0-4540-89DD-0D8E1F6E6D33}"/>
                </a:ext>
              </a:extLst>
            </p:cNvPr>
            <p:cNvPicPr/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831" r="62201"/>
            <a:stretch/>
          </p:blipFill>
          <p:spPr>
            <a:xfrm>
              <a:off x="4309964" y="5698736"/>
              <a:ext cx="628651" cy="614045"/>
            </a:xfrm>
            <a:prstGeom prst="rect">
              <a:avLst/>
            </a:prstGeom>
          </p:spPr>
        </p:pic>
        <p:pic>
          <p:nvPicPr>
            <p:cNvPr id="21" name="Picture 10">
              <a:extLst>
                <a:ext uri="{FF2B5EF4-FFF2-40B4-BE49-F238E27FC236}">
                  <a16:creationId xmlns:a16="http://schemas.microsoft.com/office/drawing/2014/main" id="{77CB88A3-E335-415B-B578-C05E2DF4D48C}"/>
                </a:ext>
              </a:extLst>
            </p:cNvPr>
            <p:cNvPicPr/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8819"/>
            <a:stretch/>
          </p:blipFill>
          <p:spPr>
            <a:xfrm>
              <a:off x="6684181" y="5698736"/>
              <a:ext cx="640862" cy="6140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073362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4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rACKQanNDDHJe4Ne2OR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n6giu5QCQZA5OcBWvD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j2WbJ84QJbMaLgGnOd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k1JFKrLDM9ad78ZC_E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7oXnloeVBhqZ86gj_Y2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TSSuP94WcEF6g1A8vME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kHWLkInEjwgpLqnQHK4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BGfUf2NmCGrggyVzw_v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dtscLCGLn5HWQ4.fZeF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sAfbcG3SZwzhTqjRWe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PK84XE12s5YUDqhixeB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h.1JldLc9mGo1H_b.AG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9XKu5k279dxREh45r3NU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BxUpb5Zy3KZBGWar36V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0FM.VH_WcPDdBPZOG86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Z99pBA2kb.6KSMUhO4y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_ZGMz7qA8uobeqSX96k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P5cK0dE7r39uCJmE3B6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0S4Eie5WD95pDRx9HCu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9k.H1oEJ_k8km6duCO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1d7Jtth5Vcwe0aV6e74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eBoddojb_GYewnYbQb2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q7X6Xu9Rvo29Y4TIIuV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QXSrDUP00P_Bk5s7Dem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klrwQz0nGTexDqfWVGQ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j5wR1cE4ckKw1ZMXf2H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6buL18YXnNlBtDyJ1DB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_yq0W7MByWSnR3Zu0G2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.jYoSb0ZNUNY3_bTI35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iDwhqa8CslEIKR221v5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V.ax9PiGobWztVNa_Nr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jxeJjXyLWiTZNoyklJO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FjVjGV4lF.s24XYJLHX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4WajmgfxtSsVLxZcqaY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kXptUj.bRsjJcXvGLKh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PBZ4Gba40.jKvENWUau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ih7YB8YhyPhrAjdpCQ1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Pia_rJc9F8MLPicsyRy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xwqEOZEXa6Eqgws.tyA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dGer.Hs8W9eMVtIjMcK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4y.0Gd.sm03UAIFjTMX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TNgXEudnukLZzbKJeK.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JLjJSrdSb9hHNvHH2Zi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.EALzmPSh0gLL7gi.dl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ywmZsjD_yQnBI7YJ3st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9dgyow1JWb0iwuq1uA1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gnVqAd3upvzlP1q42H4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MbRRNC6aBKa28L0sAtB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us04weOFOmTh0TsdoQt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8Lfm8HOZWFFtXNArEg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UYeWFifvj5TJVHG_GJi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2vbTbflfPIkHAjdCsGm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mm2AO5L4LT31xGaHqaA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.C3VmfLyYSuvJ2_brgu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xTpawLayH.UFwFrGdYO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svgO.vp4GCMcnuUeueZ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sLwdB1VtPFcVLzi4fM8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YR94dKS.Ep2WYzdF__E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VcFNlX.Z5B7UiqO2uYX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ReHHjTwO3B.TkElFJh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6QUSzvqbMdAZTShlFEz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4u_3EjCZsNLpqkWe_mM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crBNt3_sBkiiAIGFCjU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KnGxTVflqooNty8pugK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wBnnh9.OQTDdbyVbdBJ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KyFpy1wVZd.yMW251wv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LMuTg_jpGwxMJZdsh68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8OKOKozDoSzUP_ERPVb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3NMad1SfFg0RqcZcQCV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71_564sB7TRLhyWD37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cR0ZJXKvI2S5b90rd7o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rpi3blSDKwObX7OLygg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wBEUj81zbYhY6yRVt2z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o.RotEC5UZzB6EyJF_V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UzeJuaPnxwQXJGJkbhx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c7vNo18ldQxtBimSPgA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OV10_6UAxXaiRmnWrk4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_AuSUMmrqKLB5J.jSk0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SKE1w4Eka5s4lGZps_J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_AuSUMmrqKLB5J.jSk0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18B395cPc0va.v4lp.n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61</Words>
  <Application>Microsoft Office PowerPoint</Application>
  <PresentationFormat>Custom</PresentationFormat>
  <Paragraphs>157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EYInterstate</vt:lpstr>
      <vt:lpstr>EYInterstate Light</vt:lpstr>
      <vt:lpstr>Wingdings</vt:lpstr>
      <vt:lpstr>Wingdings 2</vt:lpstr>
      <vt:lpstr>EY dark background</vt:lpstr>
      <vt:lpstr>think-cell Slide</vt:lpstr>
      <vt:lpstr>Sistem integrat de management pentru o societate informațională performantă (SIMSIP)  Cod MySMIS 116172, SIPOCA 391 </vt:lpstr>
      <vt:lpstr>Serviciile de consultanță livrate de către EY în cadrul SIMSIP</vt:lpstr>
      <vt:lpstr>Serviciile de consultanță livrate de către EY în cadrul SIMSIP</vt:lpstr>
      <vt:lpstr>Serviciile de consultanță livrate de către EY în cadrul SIMSIP</vt:lpstr>
      <vt:lpstr>Aplicația de monitorizare și evaluare a nivelului de digitalizare</vt:lpstr>
      <vt:lpstr>Nivelul de digitalizare al administrației publice din România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keywords/>
  <cp:lastModifiedBy/>
  <cp:revision>1</cp:revision>
  <dcterms:created xsi:type="dcterms:W3CDTF">2016-03-16T05:57:48Z</dcterms:created>
  <dcterms:modified xsi:type="dcterms:W3CDTF">2022-09-16T11:36:37Z</dcterms:modified>
  <cp:contentStatus/>
</cp:coreProperties>
</file>